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9"/>
  </p:notesMasterIdLst>
  <p:sldIdLst>
    <p:sldId id="256" r:id="rId2"/>
    <p:sldId id="257" r:id="rId3"/>
    <p:sldId id="258" r:id="rId4"/>
    <p:sldId id="262" r:id="rId5"/>
    <p:sldId id="259" r:id="rId6"/>
    <p:sldId id="260" r:id="rId7"/>
    <p:sldId id="261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3491" autoAdjust="0"/>
  </p:normalViewPr>
  <p:slideViewPr>
    <p:cSldViewPr>
      <p:cViewPr varScale="1">
        <p:scale>
          <a:sx n="82" d="100"/>
          <a:sy n="82" d="100"/>
        </p:scale>
        <p:origin x="-181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9581D1-7661-44DB-87F6-38E15D5C63C9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F2B08F-A1F7-4127-96AA-FC05A1E204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12693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лександра: </a:t>
            </a:r>
            <a:r>
              <a:rPr lang="ru-RU" sz="1200" dirty="0" smtClean="0"/>
              <a:t>Пытаемся разобраться с профориентацией, выбором ВУЗа и факультета, оценкой перспектив на будущем рынке труда ряда профессий. </a:t>
            </a:r>
          </a:p>
          <a:p>
            <a:endParaRPr lang="ru-RU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Кирилл: Прошли психологическое тестирование (склонности), работаем с угрозой потери учебной мотивации (особенно </a:t>
            </a:r>
            <a:r>
              <a:rPr lang="ru-RU" sz="1200" dirty="0" err="1" smtClean="0"/>
              <a:t>ин.яз</a:t>
            </a:r>
            <a:r>
              <a:rPr lang="ru-RU" sz="1200" dirty="0" smtClean="0"/>
              <a:t>.), пытаемся сделать выбор школы на этап 5-9 </a:t>
            </a:r>
            <a:r>
              <a:rPr lang="ru-RU" sz="1200" dirty="0" err="1" smtClean="0"/>
              <a:t>кл</a:t>
            </a:r>
            <a:r>
              <a:rPr lang="ru-RU" sz="120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Дарья: </a:t>
            </a:r>
            <a:r>
              <a:rPr lang="ru-RU" sz="1200" dirty="0" smtClean="0"/>
              <a:t>Ищем школу со специализацией на искусстве.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2B08F-A1F7-4127-96AA-FC05A1E204A3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524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ирилл: В школе неинтересно, учителя учат старому,</a:t>
            </a:r>
            <a:r>
              <a:rPr lang="ru-RU" baseline="0" dirty="0" smtClean="0"/>
              <a:t> хотим читать новые книжки, на выразительное чтение 5 мин./неделю. На секции робототехники 2-3-классники используют при программировании </a:t>
            </a:r>
            <a:r>
              <a:rPr lang="en-US" baseline="0" dirty="0" smtClean="0"/>
              <a:t>LEGO </a:t>
            </a:r>
            <a:r>
              <a:rPr lang="en-US" baseline="0" dirty="0" err="1" smtClean="0"/>
              <a:t>MindStorm</a:t>
            </a:r>
            <a:r>
              <a:rPr lang="ru-RU" baseline="0" dirty="0" smtClean="0"/>
              <a:t> теорию вероятности из курса 11 класса/1 курса ВУЗа. Потеря мотивации к учебе – за 1 год новая англичанка воспитала ненависть к языку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Александра: учит программирование и </a:t>
            </a:r>
            <a:r>
              <a:rPr lang="en-US" baseline="0" dirty="0" smtClean="0"/>
              <a:t>web</a:t>
            </a:r>
            <a:r>
              <a:rPr lang="ru-RU" baseline="0" dirty="0" smtClean="0"/>
              <a:t>-дизайн в Интернет, создала сайт о корейской моде (1 год – 1200 постоянных подписчиков), учит математику работая в </a:t>
            </a:r>
            <a:r>
              <a:rPr lang="en-US" baseline="0" dirty="0" err="1" smtClean="0"/>
              <a:t>Oriflame</a:t>
            </a:r>
            <a:r>
              <a:rPr lang="ru-RU" baseline="0" dirty="0" smtClean="0"/>
              <a:t>, психолог настаивает на математической одаренности – динамика оценок по предмету в школе негативная. Функциональная безграмотность, недостаточные навыки в </a:t>
            </a:r>
            <a:r>
              <a:rPr lang="en-US" baseline="0" dirty="0" smtClean="0"/>
              <a:t>learning</a:t>
            </a:r>
            <a:r>
              <a:rPr lang="ru-RU" baseline="0" dirty="0" smtClean="0"/>
              <a:t> (поисковое обучение)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арья: легко заимствует у родственников фразы - </a:t>
            </a:r>
            <a:r>
              <a:rPr lang="en-US" baseline="0" dirty="0" smtClean="0"/>
              <a:t>My name is </a:t>
            </a:r>
            <a:r>
              <a:rPr lang="en-US" baseline="0" dirty="0" err="1" smtClean="0"/>
              <a:t>Dasha</a:t>
            </a:r>
            <a:r>
              <a:rPr lang="en-US" baseline="0" dirty="0" smtClean="0"/>
              <a:t>, I can fly!</a:t>
            </a:r>
            <a:r>
              <a:rPr lang="ru-RU" baseline="0" dirty="0" smtClean="0"/>
              <a:t>, позиция англичанки в школе – Дети во 2 классе не могут использовать модальные глаголы!</a:t>
            </a:r>
            <a:endParaRPr lang="en-US" baseline="0" dirty="0" smtClean="0"/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2B08F-A1F7-4127-96AA-FC05A1E204A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656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Качество преподавания является критически важным для мотивации на обучение младших школьников и результативности старших школьников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Родители не верят в возможность реальных изменений в школах, увеличение финансирования не приводит к качеству, ключ в новой генерации учителей, но на </a:t>
            </a:r>
            <a:r>
              <a:rPr lang="ru-RU" baseline="0" dirty="0" err="1" smtClean="0"/>
              <a:t>педагогич.факультеты</a:t>
            </a:r>
            <a:r>
              <a:rPr lang="ru-RU" baseline="0" dirty="0" smtClean="0"/>
              <a:t> поступают «</a:t>
            </a:r>
            <a:r>
              <a:rPr lang="ru-RU" baseline="0" dirty="0" err="1" smtClean="0"/>
              <a:t>троешники</a:t>
            </a:r>
            <a:r>
              <a:rPr lang="ru-RU" baseline="0" dirty="0" smtClean="0"/>
              <a:t>», они не смогут воспитать «креативный класс» в лучшем случае справятся с «социализацией мигрантов»</a:t>
            </a:r>
          </a:p>
          <a:p>
            <a:endParaRPr lang="en-US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2B08F-A1F7-4127-96AA-FC05A1E204A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656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ва идеальных типа семьи: </a:t>
            </a:r>
          </a:p>
          <a:p>
            <a:r>
              <a:rPr lang="ru-RU" dirty="0" err="1" smtClean="0"/>
              <a:t>нео</a:t>
            </a:r>
            <a:r>
              <a:rPr lang="ru-RU" dirty="0" smtClean="0"/>
              <a:t>-архаичная – отец выполняет функции материального обеспечения,</a:t>
            </a:r>
            <a:r>
              <a:rPr lang="ru-RU" baseline="0" dirty="0" smtClean="0"/>
              <a:t> </a:t>
            </a:r>
            <a:r>
              <a:rPr lang="ru-RU" dirty="0" err="1" smtClean="0"/>
              <a:t>мать+бабушка</a:t>
            </a:r>
            <a:r>
              <a:rPr lang="ru-RU" dirty="0" smtClean="0"/>
              <a:t> посвящают</a:t>
            </a:r>
            <a:r>
              <a:rPr lang="ru-RU" baseline="0" dirty="0" smtClean="0"/>
              <a:t> себя детям (непрофессионалы), формируют образовательные траектории (школьная/дополнительная), выполняют инфраструктурную функцию (реализация траектории).</a:t>
            </a:r>
          </a:p>
          <a:p>
            <a:r>
              <a:rPr lang="ru-RU" baseline="0" dirty="0" smtClean="0"/>
              <a:t>«профессиональные» родители – государство субсидирует семью (демографическая и воспитательная функции), мать и частично отец профессионально посвящают себя детям, пользуются специальной инфраструктурой (общественными институтами) для формирования и реализации образовательной траектории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ва типа школ:</a:t>
            </a:r>
          </a:p>
          <a:p>
            <a:r>
              <a:rPr lang="ru-RU" baseline="0" dirty="0" smtClean="0"/>
              <a:t>Школы-обучающие/специализированные – элитные (1-2%) и </a:t>
            </a:r>
            <a:r>
              <a:rPr lang="ru-RU" baseline="0" dirty="0" err="1" smtClean="0"/>
              <a:t>топовые</a:t>
            </a:r>
            <a:r>
              <a:rPr lang="ru-RU" baseline="0" dirty="0" smtClean="0"/>
              <a:t> школы/ВУЗы (до 10%) с жестким отбором детей и устойчивой по качеству образовательной подготовкой (аудитория – резиденты в мегаполисах)</a:t>
            </a:r>
          </a:p>
          <a:p>
            <a:r>
              <a:rPr lang="ru-RU" baseline="0" dirty="0" smtClean="0"/>
              <a:t>Школы –социализирующие – общая масса школ/ВУЗов (свыше 80%) с фактическим отсутствием образования и упором на </a:t>
            </a:r>
            <a:r>
              <a:rPr lang="ru-RU" baseline="0" dirty="0" err="1" smtClean="0"/>
              <a:t>социо</a:t>
            </a:r>
            <a:r>
              <a:rPr lang="ru-RU" baseline="0" dirty="0" smtClean="0"/>
              <a:t>-культурную переработку подрастающих поколений (аудитория – мигранты, резиденты-провинциалы)</a:t>
            </a:r>
          </a:p>
          <a:p>
            <a:endParaRPr lang="ru-RU" baseline="0" dirty="0" smtClean="0"/>
          </a:p>
          <a:p>
            <a:r>
              <a:rPr lang="ru-RU" baseline="0" dirty="0" smtClean="0"/>
              <a:t>Что на практике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я семья является достаточно типичным представителем домохозяйства, относящегося к среднему классу (не подходит ни к одному идеальному типу семьи). Отец – экономист в электроэнергетике, мать – юрист в строительной отрасли, оба менеджеры среднего звена. Разновозрастные дети позволяют увидеть проблематику нескольких поколений детей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ршая дочь (16 лет) сейчас обучается в русско-китайской школе № 1948 (тип-социализирующая) и находится на этапе «Последние 2 года в школе – подготовка к ВУЗу». Из-за того, что в предыдущие этапы ее образовательной траектории родители не вложили необходимых ресурсов, а школа дала на уровне только китайский язык – возникла проблема подготовки к ЕГЭ через «натаскивание» ребенка репетиторами и/или курсами при потенциальных ВУЗ-ах. Испытываем недостаток правдивой информации по ВУЗам, а также состоянием рынка труда в российской синологи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ын (8 лет) посещает офтальмологическую школу-сад № 1676 (тип-специализированная/лечащая) и готовится к переходу в новую школу с 5-го класса. Сложность экзаменов и конкурс в ближайшие к нашему месту жительства «элитные» школы превышают аналоги при моем поступлении в ВУЗ в 1992 г. На данном этапе мы пытаемся определить склонности сына через консультации у психологов и экспериментирование с различными направлениями дополнительного образования. Ввиду слабости преподавания в школе английского языка – сын посещает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glish First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Из-за недостаток квалификации нам трудно сформировать у сына мотивацию на обучение, также необходимы правдивые рекомендации по репетиторам специализирующимся на младших школьниках. На долгосрочном горизонте непонятны перспективы куста естественно-научных профессий в Росси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чь (4 года) посещает школу-сад № 1676, при этом имеет достаточно ярко выраженные артистические способности. С 2011/12 уч. г. будет посещать танцевальный кружок. Испытываем недостаток информации по ближайшим школам со специализацией на искусств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2B08F-A1F7-4127-96AA-FC05A1E204A3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7261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стоящее время семьи среднего класса испытывают трудности в проектировании и эффективном прохождении траекторий развития детей в период от 5 до 22 лет. Для решения этой проблемы необходимы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ьюторы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пециалисты способные выступить проводниками для детей и их родителей в прокладывании траектории развития, эффективном использовании ресурсов семьи, школы, учреждений дополнительного образования, бизнеса и различных сообществ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уществующая проблема связана с тем, что с одной стороны квалификация родителей, их временные и финансовые ресурсы не адекватны существующему масштабу и сложности проблем воспитания детей. Для эффективного развития целого поколения детей необходимо очень сфокусированное использование всех ресурсов. С другой стороны динамика развития системы образования не позволяет полностью и своевременно ответить на все вызовы, связанные с подготовкой детей к успешной жизни в современном обществе. В этих условиях жесткая необходимость качественного обучения здесь и сейчас требует использования существующих систем общего и дополнительного образования особым образом (индивидуальные траектории).</a:t>
            </a:r>
          </a:p>
          <a:p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ьюто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очетающий компетенции социолога, психолога, педагога, позволяет каждому школьнику получить консультации в критических точках образовательной траектории (7-11-15-18 лет).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ьюто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олжен быть связующим звеном между дошкольными учреждениями, школой, ВУЗами и работодателями, обладать актуальной и прогнозной информацией по состоянию рынка труда и ресурсам развития детей, а также опыту семей, построивших аналогичные траектории. Целесообразно организация специализированной НКО при Департаменте образования г. Москвы, что гарантирует независимость и статус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ьютор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Источником финансирования могут быть как бюджетные средства, так и прямые заказы от родителей на сопровождении детей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итывая количество обучающихся в г. Москва (740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 и средние затраты семьи на подготовку (семьи среднего класса – 30%,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т.е. 220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чел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) составляют от 100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ыс.руб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/год. рынок услуг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ьюторов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ожет составить 2,2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лрд.руб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/год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F2B08F-A1F7-4127-96AA-FC05A1E204A3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5402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9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1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5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00200"/>
            <a:ext cx="7772400" cy="1780108"/>
          </a:xfrm>
        </p:spPr>
        <p:txBody>
          <a:bodyPr anchor="b">
            <a:normAutofit/>
          </a:bodyPr>
          <a:lstStyle>
            <a:lvl1pPr>
              <a:defRPr sz="440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56001"/>
            <a:ext cx="6400800" cy="14732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hidden"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grpSp>
        <p:nvGrpSpPr>
          <p:cNvPr id="15" name="Group 14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0" name="Freeform 19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447800"/>
            <a:ext cx="2057400" cy="4487333"/>
          </a:xfrm>
        </p:spPr>
        <p:txBody>
          <a:bodyPr vert="eaVert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47800"/>
            <a:ext cx="6019800" cy="4487334"/>
          </a:xfrm>
        </p:spPr>
        <p:txBody>
          <a:bodyPr vert="eaVert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4736592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14"/>
          <p:cNvSpPr>
            <a:spLocks/>
          </p:cNvSpPr>
          <p:nvPr/>
        </p:nvSpPr>
        <p:spPr bwMode="hidden">
          <a:xfrm>
            <a:off x="6047438" y="4203592"/>
            <a:ext cx="2876429" cy="714026"/>
          </a:xfrm>
          <a:custGeom>
            <a:avLst/>
            <a:gdLst/>
            <a:ahLst/>
            <a:cxnLst>
              <a:cxn ang="0">
                <a:pos x="2700" y="0"/>
              </a:cxn>
              <a:cxn ang="0">
                <a:pos x="2700" y="0"/>
              </a:cxn>
              <a:cxn ang="0">
                <a:pos x="2586" y="18"/>
              </a:cxn>
              <a:cxn ang="0">
                <a:pos x="2470" y="38"/>
              </a:cxn>
              <a:cxn ang="0">
                <a:pos x="2352" y="60"/>
              </a:cxn>
              <a:cxn ang="0">
                <a:pos x="2230" y="82"/>
              </a:cxn>
              <a:cxn ang="0">
                <a:pos x="2106" y="108"/>
              </a:cxn>
              <a:cxn ang="0">
                <a:pos x="1978" y="134"/>
              </a:cxn>
              <a:cxn ang="0">
                <a:pos x="1848" y="164"/>
              </a:cxn>
              <a:cxn ang="0">
                <a:pos x="1714" y="194"/>
              </a:cxn>
              <a:cxn ang="0">
                <a:pos x="1714" y="194"/>
              </a:cxn>
              <a:cxn ang="0">
                <a:pos x="1472" y="252"/>
              </a:cxn>
              <a:cxn ang="0">
                <a:pos x="1236" y="304"/>
              </a:cxn>
              <a:cxn ang="0">
                <a:pos x="1010" y="352"/>
              </a:cxn>
              <a:cxn ang="0">
                <a:pos x="792" y="398"/>
              </a:cxn>
              <a:cxn ang="0">
                <a:pos x="584" y="438"/>
              </a:cxn>
              <a:cxn ang="0">
                <a:pos x="382" y="474"/>
              </a:cxn>
              <a:cxn ang="0">
                <a:pos x="188" y="508"/>
              </a:cxn>
              <a:cxn ang="0">
                <a:pos x="0" y="538"/>
              </a:cxn>
              <a:cxn ang="0">
                <a:pos x="0" y="538"/>
              </a:cxn>
              <a:cxn ang="0">
                <a:pos x="130" y="556"/>
              </a:cxn>
              <a:cxn ang="0">
                <a:pos x="254" y="572"/>
              </a:cxn>
              <a:cxn ang="0">
                <a:pos x="374" y="586"/>
              </a:cxn>
              <a:cxn ang="0">
                <a:pos x="492" y="598"/>
              </a:cxn>
              <a:cxn ang="0">
                <a:pos x="606" y="610"/>
              </a:cxn>
              <a:cxn ang="0">
                <a:pos x="716" y="618"/>
              </a:cxn>
              <a:cxn ang="0">
                <a:pos x="822" y="626"/>
              </a:cxn>
              <a:cxn ang="0">
                <a:pos x="926" y="632"/>
              </a:cxn>
              <a:cxn ang="0">
                <a:pos x="1028" y="636"/>
              </a:cxn>
              <a:cxn ang="0">
                <a:pos x="1126" y="638"/>
              </a:cxn>
              <a:cxn ang="0">
                <a:pos x="1220" y="640"/>
              </a:cxn>
              <a:cxn ang="0">
                <a:pos x="1312" y="640"/>
              </a:cxn>
              <a:cxn ang="0">
                <a:pos x="1402" y="638"/>
              </a:cxn>
              <a:cxn ang="0">
                <a:pos x="1490" y="636"/>
              </a:cxn>
              <a:cxn ang="0">
                <a:pos x="1574" y="632"/>
              </a:cxn>
              <a:cxn ang="0">
                <a:pos x="1656" y="626"/>
              </a:cxn>
              <a:cxn ang="0">
                <a:pos x="1734" y="620"/>
              </a:cxn>
              <a:cxn ang="0">
                <a:pos x="1812" y="612"/>
              </a:cxn>
              <a:cxn ang="0">
                <a:pos x="1886" y="602"/>
              </a:cxn>
              <a:cxn ang="0">
                <a:pos x="1960" y="592"/>
              </a:cxn>
              <a:cxn ang="0">
                <a:pos x="2030" y="580"/>
              </a:cxn>
              <a:cxn ang="0">
                <a:pos x="2100" y="568"/>
              </a:cxn>
              <a:cxn ang="0">
                <a:pos x="2166" y="554"/>
              </a:cxn>
              <a:cxn ang="0">
                <a:pos x="2232" y="540"/>
              </a:cxn>
              <a:cxn ang="0">
                <a:pos x="2296" y="524"/>
              </a:cxn>
              <a:cxn ang="0">
                <a:pos x="2358" y="508"/>
              </a:cxn>
              <a:cxn ang="0">
                <a:pos x="2418" y="490"/>
              </a:cxn>
              <a:cxn ang="0">
                <a:pos x="2478" y="472"/>
              </a:cxn>
              <a:cxn ang="0">
                <a:pos x="2592" y="432"/>
              </a:cxn>
              <a:cxn ang="0">
                <a:pos x="2702" y="390"/>
              </a:cxn>
              <a:cxn ang="0">
                <a:pos x="2702" y="390"/>
              </a:cxn>
              <a:cxn ang="0">
                <a:pos x="2706" y="388"/>
              </a:cxn>
              <a:cxn ang="0">
                <a:pos x="2706" y="388"/>
              </a:cxn>
              <a:cxn ang="0">
                <a:pos x="2706" y="0"/>
              </a:cxn>
              <a:cxn ang="0">
                <a:pos x="2706" y="0"/>
              </a:cxn>
              <a:cxn ang="0">
                <a:pos x="2700" y="0"/>
              </a:cxn>
              <a:cxn ang="0">
                <a:pos x="2700" y="0"/>
              </a:cxn>
            </a:cxnLst>
            <a:rect l="0" t="0" r="r" b="b"/>
            <a:pathLst>
              <a:path w="2706" h="640">
                <a:moveTo>
                  <a:pt x="2700" y="0"/>
                </a:moveTo>
                <a:lnTo>
                  <a:pt x="2700" y="0"/>
                </a:lnTo>
                <a:lnTo>
                  <a:pt x="2586" y="18"/>
                </a:lnTo>
                <a:lnTo>
                  <a:pt x="2470" y="38"/>
                </a:lnTo>
                <a:lnTo>
                  <a:pt x="2352" y="60"/>
                </a:lnTo>
                <a:lnTo>
                  <a:pt x="2230" y="82"/>
                </a:lnTo>
                <a:lnTo>
                  <a:pt x="2106" y="108"/>
                </a:lnTo>
                <a:lnTo>
                  <a:pt x="1978" y="134"/>
                </a:lnTo>
                <a:lnTo>
                  <a:pt x="1848" y="164"/>
                </a:lnTo>
                <a:lnTo>
                  <a:pt x="1714" y="194"/>
                </a:lnTo>
                <a:lnTo>
                  <a:pt x="1714" y="194"/>
                </a:lnTo>
                <a:lnTo>
                  <a:pt x="1472" y="252"/>
                </a:lnTo>
                <a:lnTo>
                  <a:pt x="1236" y="304"/>
                </a:lnTo>
                <a:lnTo>
                  <a:pt x="1010" y="352"/>
                </a:lnTo>
                <a:lnTo>
                  <a:pt x="792" y="398"/>
                </a:lnTo>
                <a:lnTo>
                  <a:pt x="584" y="438"/>
                </a:lnTo>
                <a:lnTo>
                  <a:pt x="382" y="474"/>
                </a:lnTo>
                <a:lnTo>
                  <a:pt x="188" y="508"/>
                </a:lnTo>
                <a:lnTo>
                  <a:pt x="0" y="538"/>
                </a:lnTo>
                <a:lnTo>
                  <a:pt x="0" y="538"/>
                </a:lnTo>
                <a:lnTo>
                  <a:pt x="130" y="556"/>
                </a:lnTo>
                <a:lnTo>
                  <a:pt x="254" y="572"/>
                </a:lnTo>
                <a:lnTo>
                  <a:pt x="374" y="586"/>
                </a:lnTo>
                <a:lnTo>
                  <a:pt x="492" y="598"/>
                </a:lnTo>
                <a:lnTo>
                  <a:pt x="606" y="610"/>
                </a:lnTo>
                <a:lnTo>
                  <a:pt x="716" y="618"/>
                </a:lnTo>
                <a:lnTo>
                  <a:pt x="822" y="626"/>
                </a:lnTo>
                <a:lnTo>
                  <a:pt x="926" y="632"/>
                </a:lnTo>
                <a:lnTo>
                  <a:pt x="1028" y="636"/>
                </a:lnTo>
                <a:lnTo>
                  <a:pt x="1126" y="638"/>
                </a:lnTo>
                <a:lnTo>
                  <a:pt x="1220" y="640"/>
                </a:lnTo>
                <a:lnTo>
                  <a:pt x="1312" y="640"/>
                </a:lnTo>
                <a:lnTo>
                  <a:pt x="1402" y="638"/>
                </a:lnTo>
                <a:lnTo>
                  <a:pt x="1490" y="636"/>
                </a:lnTo>
                <a:lnTo>
                  <a:pt x="1574" y="632"/>
                </a:lnTo>
                <a:lnTo>
                  <a:pt x="1656" y="626"/>
                </a:lnTo>
                <a:lnTo>
                  <a:pt x="1734" y="620"/>
                </a:lnTo>
                <a:lnTo>
                  <a:pt x="1812" y="612"/>
                </a:lnTo>
                <a:lnTo>
                  <a:pt x="1886" y="602"/>
                </a:lnTo>
                <a:lnTo>
                  <a:pt x="1960" y="592"/>
                </a:lnTo>
                <a:lnTo>
                  <a:pt x="2030" y="580"/>
                </a:lnTo>
                <a:lnTo>
                  <a:pt x="2100" y="568"/>
                </a:lnTo>
                <a:lnTo>
                  <a:pt x="2166" y="554"/>
                </a:lnTo>
                <a:lnTo>
                  <a:pt x="2232" y="540"/>
                </a:lnTo>
                <a:lnTo>
                  <a:pt x="2296" y="524"/>
                </a:lnTo>
                <a:lnTo>
                  <a:pt x="2358" y="508"/>
                </a:lnTo>
                <a:lnTo>
                  <a:pt x="2418" y="490"/>
                </a:lnTo>
                <a:lnTo>
                  <a:pt x="2478" y="472"/>
                </a:lnTo>
                <a:lnTo>
                  <a:pt x="2592" y="432"/>
                </a:lnTo>
                <a:lnTo>
                  <a:pt x="2702" y="390"/>
                </a:lnTo>
                <a:lnTo>
                  <a:pt x="2702" y="390"/>
                </a:lnTo>
                <a:lnTo>
                  <a:pt x="2706" y="388"/>
                </a:lnTo>
                <a:lnTo>
                  <a:pt x="2706" y="388"/>
                </a:lnTo>
                <a:lnTo>
                  <a:pt x="2706" y="0"/>
                </a:lnTo>
                <a:lnTo>
                  <a:pt x="2706" y="0"/>
                </a:lnTo>
                <a:lnTo>
                  <a:pt x="2700" y="0"/>
                </a:lnTo>
                <a:lnTo>
                  <a:pt x="2700" y="0"/>
                </a:lnTo>
                <a:close/>
              </a:path>
            </a:pathLst>
          </a:custGeom>
          <a:solidFill>
            <a:schemeClr val="bg2">
              <a:alpha val="29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18"/>
          <p:cNvSpPr>
            <a:spLocks/>
          </p:cNvSpPr>
          <p:nvPr/>
        </p:nvSpPr>
        <p:spPr bwMode="hidden">
          <a:xfrm>
            <a:off x="2619320" y="4075290"/>
            <a:ext cx="5544515" cy="850138"/>
          </a:xfrm>
          <a:custGeom>
            <a:avLst/>
            <a:gdLst/>
            <a:ahLst/>
            <a:cxnLst>
              <a:cxn ang="0">
                <a:pos x="5216" y="714"/>
              </a:cxn>
              <a:cxn ang="0">
                <a:pos x="4984" y="686"/>
              </a:cxn>
              <a:cxn ang="0">
                <a:pos x="4478" y="610"/>
              </a:cxn>
              <a:cxn ang="0">
                <a:pos x="3914" y="508"/>
              </a:cxn>
              <a:cxn ang="0">
                <a:pos x="3286" y="374"/>
              </a:cxn>
              <a:cxn ang="0">
                <a:pos x="2946" y="296"/>
              </a:cxn>
              <a:cxn ang="0">
                <a:pos x="2682" y="236"/>
              </a:cxn>
              <a:cxn ang="0">
                <a:pos x="2430" y="184"/>
              </a:cxn>
              <a:cxn ang="0">
                <a:pos x="2190" y="140"/>
              </a:cxn>
              <a:cxn ang="0">
                <a:pos x="1960" y="102"/>
              </a:cxn>
              <a:cxn ang="0">
                <a:pos x="1740" y="72"/>
              </a:cxn>
              <a:cxn ang="0">
                <a:pos x="1334" y="28"/>
              </a:cxn>
              <a:cxn ang="0">
                <a:pos x="970" y="4"/>
              </a:cxn>
              <a:cxn ang="0">
                <a:pos x="644" y="0"/>
              </a:cxn>
              <a:cxn ang="0">
                <a:pos x="358" y="10"/>
              </a:cxn>
              <a:cxn ang="0">
                <a:pos x="110" y="32"/>
              </a:cxn>
              <a:cxn ang="0">
                <a:pos x="0" y="48"/>
              </a:cxn>
              <a:cxn ang="0">
                <a:pos x="314" y="86"/>
              </a:cxn>
              <a:cxn ang="0">
                <a:pos x="652" y="140"/>
              </a:cxn>
              <a:cxn ang="0">
                <a:pos x="1014" y="210"/>
              </a:cxn>
              <a:cxn ang="0">
                <a:pos x="1402" y="296"/>
              </a:cxn>
              <a:cxn ang="0">
                <a:pos x="1756" y="378"/>
              </a:cxn>
              <a:cxn ang="0">
                <a:pos x="2408" y="516"/>
              </a:cxn>
              <a:cxn ang="0">
                <a:pos x="2708" y="572"/>
              </a:cxn>
              <a:cxn ang="0">
                <a:pos x="2992" y="620"/>
              </a:cxn>
              <a:cxn ang="0">
                <a:pos x="3260" y="662"/>
              </a:cxn>
              <a:cxn ang="0">
                <a:pos x="3512" y="694"/>
              </a:cxn>
              <a:cxn ang="0">
                <a:pos x="3750" y="722"/>
              </a:cxn>
              <a:cxn ang="0">
                <a:pos x="3974" y="740"/>
              </a:cxn>
              <a:cxn ang="0">
                <a:pos x="4184" y="754"/>
              </a:cxn>
              <a:cxn ang="0">
                <a:pos x="4384" y="762"/>
              </a:cxn>
              <a:cxn ang="0">
                <a:pos x="4570" y="762"/>
              </a:cxn>
              <a:cxn ang="0">
                <a:pos x="4746" y="758"/>
              </a:cxn>
              <a:cxn ang="0">
                <a:pos x="4912" y="748"/>
              </a:cxn>
              <a:cxn ang="0">
                <a:pos x="5068" y="732"/>
              </a:cxn>
              <a:cxn ang="0">
                <a:pos x="5216" y="714"/>
              </a:cxn>
            </a:cxnLst>
            <a:rect l="0" t="0" r="r" b="b"/>
            <a:pathLst>
              <a:path w="5216" h="762">
                <a:moveTo>
                  <a:pt x="5216" y="714"/>
                </a:moveTo>
                <a:lnTo>
                  <a:pt x="5216" y="714"/>
                </a:lnTo>
                <a:lnTo>
                  <a:pt x="5102" y="700"/>
                </a:lnTo>
                <a:lnTo>
                  <a:pt x="4984" y="686"/>
                </a:lnTo>
                <a:lnTo>
                  <a:pt x="4738" y="652"/>
                </a:lnTo>
                <a:lnTo>
                  <a:pt x="4478" y="610"/>
                </a:lnTo>
                <a:lnTo>
                  <a:pt x="4204" y="564"/>
                </a:lnTo>
                <a:lnTo>
                  <a:pt x="3914" y="508"/>
                </a:lnTo>
                <a:lnTo>
                  <a:pt x="3608" y="446"/>
                </a:lnTo>
                <a:lnTo>
                  <a:pt x="3286" y="374"/>
                </a:lnTo>
                <a:lnTo>
                  <a:pt x="2946" y="296"/>
                </a:lnTo>
                <a:lnTo>
                  <a:pt x="2946" y="296"/>
                </a:lnTo>
                <a:lnTo>
                  <a:pt x="2812" y="266"/>
                </a:lnTo>
                <a:lnTo>
                  <a:pt x="2682" y="236"/>
                </a:lnTo>
                <a:lnTo>
                  <a:pt x="2556" y="210"/>
                </a:lnTo>
                <a:lnTo>
                  <a:pt x="2430" y="184"/>
                </a:lnTo>
                <a:lnTo>
                  <a:pt x="2308" y="162"/>
                </a:lnTo>
                <a:lnTo>
                  <a:pt x="2190" y="140"/>
                </a:lnTo>
                <a:lnTo>
                  <a:pt x="2074" y="120"/>
                </a:lnTo>
                <a:lnTo>
                  <a:pt x="1960" y="102"/>
                </a:lnTo>
                <a:lnTo>
                  <a:pt x="1850" y="86"/>
                </a:lnTo>
                <a:lnTo>
                  <a:pt x="1740" y="72"/>
                </a:lnTo>
                <a:lnTo>
                  <a:pt x="1532" y="46"/>
                </a:lnTo>
                <a:lnTo>
                  <a:pt x="1334" y="28"/>
                </a:lnTo>
                <a:lnTo>
                  <a:pt x="1148" y="14"/>
                </a:lnTo>
                <a:lnTo>
                  <a:pt x="970" y="4"/>
                </a:lnTo>
                <a:lnTo>
                  <a:pt x="802" y="0"/>
                </a:lnTo>
                <a:lnTo>
                  <a:pt x="644" y="0"/>
                </a:lnTo>
                <a:lnTo>
                  <a:pt x="496" y="4"/>
                </a:lnTo>
                <a:lnTo>
                  <a:pt x="358" y="10"/>
                </a:lnTo>
                <a:lnTo>
                  <a:pt x="230" y="20"/>
                </a:lnTo>
                <a:lnTo>
                  <a:pt x="110" y="32"/>
                </a:lnTo>
                <a:lnTo>
                  <a:pt x="0" y="48"/>
                </a:lnTo>
                <a:lnTo>
                  <a:pt x="0" y="48"/>
                </a:lnTo>
                <a:lnTo>
                  <a:pt x="154" y="66"/>
                </a:lnTo>
                <a:lnTo>
                  <a:pt x="314" y="86"/>
                </a:lnTo>
                <a:lnTo>
                  <a:pt x="480" y="112"/>
                </a:lnTo>
                <a:lnTo>
                  <a:pt x="652" y="140"/>
                </a:lnTo>
                <a:lnTo>
                  <a:pt x="830" y="174"/>
                </a:lnTo>
                <a:lnTo>
                  <a:pt x="1014" y="210"/>
                </a:lnTo>
                <a:lnTo>
                  <a:pt x="1206" y="250"/>
                </a:lnTo>
                <a:lnTo>
                  <a:pt x="1402" y="296"/>
                </a:lnTo>
                <a:lnTo>
                  <a:pt x="1402" y="296"/>
                </a:lnTo>
                <a:lnTo>
                  <a:pt x="1756" y="378"/>
                </a:lnTo>
                <a:lnTo>
                  <a:pt x="2092" y="450"/>
                </a:lnTo>
                <a:lnTo>
                  <a:pt x="2408" y="516"/>
                </a:lnTo>
                <a:lnTo>
                  <a:pt x="2562" y="544"/>
                </a:lnTo>
                <a:lnTo>
                  <a:pt x="2708" y="572"/>
                </a:lnTo>
                <a:lnTo>
                  <a:pt x="2852" y="598"/>
                </a:lnTo>
                <a:lnTo>
                  <a:pt x="2992" y="620"/>
                </a:lnTo>
                <a:lnTo>
                  <a:pt x="3128" y="642"/>
                </a:lnTo>
                <a:lnTo>
                  <a:pt x="3260" y="662"/>
                </a:lnTo>
                <a:lnTo>
                  <a:pt x="3388" y="678"/>
                </a:lnTo>
                <a:lnTo>
                  <a:pt x="3512" y="694"/>
                </a:lnTo>
                <a:lnTo>
                  <a:pt x="3632" y="708"/>
                </a:lnTo>
                <a:lnTo>
                  <a:pt x="3750" y="722"/>
                </a:lnTo>
                <a:lnTo>
                  <a:pt x="3864" y="732"/>
                </a:lnTo>
                <a:lnTo>
                  <a:pt x="3974" y="740"/>
                </a:lnTo>
                <a:lnTo>
                  <a:pt x="4080" y="748"/>
                </a:lnTo>
                <a:lnTo>
                  <a:pt x="4184" y="754"/>
                </a:lnTo>
                <a:lnTo>
                  <a:pt x="4286" y="758"/>
                </a:lnTo>
                <a:lnTo>
                  <a:pt x="4384" y="762"/>
                </a:lnTo>
                <a:lnTo>
                  <a:pt x="4478" y="762"/>
                </a:lnTo>
                <a:lnTo>
                  <a:pt x="4570" y="762"/>
                </a:lnTo>
                <a:lnTo>
                  <a:pt x="4660" y="760"/>
                </a:lnTo>
                <a:lnTo>
                  <a:pt x="4746" y="758"/>
                </a:lnTo>
                <a:lnTo>
                  <a:pt x="4830" y="754"/>
                </a:lnTo>
                <a:lnTo>
                  <a:pt x="4912" y="748"/>
                </a:lnTo>
                <a:lnTo>
                  <a:pt x="4992" y="740"/>
                </a:lnTo>
                <a:lnTo>
                  <a:pt x="5068" y="732"/>
                </a:lnTo>
                <a:lnTo>
                  <a:pt x="5144" y="724"/>
                </a:lnTo>
                <a:lnTo>
                  <a:pt x="5216" y="714"/>
                </a:lnTo>
                <a:lnTo>
                  <a:pt x="5216" y="714"/>
                </a:lnTo>
                <a:close/>
              </a:path>
            </a:pathLst>
          </a:custGeom>
          <a:solidFill>
            <a:schemeClr val="bg2">
              <a:alpha val="4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22"/>
          <p:cNvSpPr>
            <a:spLocks/>
          </p:cNvSpPr>
          <p:nvPr/>
        </p:nvSpPr>
        <p:spPr bwMode="hidden">
          <a:xfrm>
            <a:off x="2828728" y="4087562"/>
            <a:ext cx="5467980" cy="774272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0" y="70"/>
              </a:cxn>
              <a:cxn ang="0">
                <a:pos x="18" y="66"/>
              </a:cxn>
              <a:cxn ang="0">
                <a:pos x="72" y="56"/>
              </a:cxn>
              <a:cxn ang="0">
                <a:pos x="164" y="42"/>
              </a:cxn>
              <a:cxn ang="0">
                <a:pos x="224" y="34"/>
              </a:cxn>
              <a:cxn ang="0">
                <a:pos x="294" y="26"/>
              </a:cxn>
              <a:cxn ang="0">
                <a:pos x="372" y="20"/>
              </a:cxn>
              <a:cxn ang="0">
                <a:pos x="462" y="14"/>
              </a:cxn>
              <a:cxn ang="0">
                <a:pos x="560" y="8"/>
              </a:cxn>
              <a:cxn ang="0">
                <a:pos x="670" y="4"/>
              </a:cxn>
              <a:cxn ang="0">
                <a:pos x="790" y="2"/>
              </a:cxn>
              <a:cxn ang="0">
                <a:pos x="920" y="0"/>
              </a:cxn>
              <a:cxn ang="0">
                <a:pos x="1060" y="2"/>
              </a:cxn>
              <a:cxn ang="0">
                <a:pos x="1210" y="6"/>
              </a:cxn>
              <a:cxn ang="0">
                <a:pos x="1372" y="14"/>
              </a:cxn>
              <a:cxn ang="0">
                <a:pos x="1544" y="24"/>
              </a:cxn>
              <a:cxn ang="0">
                <a:pos x="1726" y="40"/>
              </a:cxn>
              <a:cxn ang="0">
                <a:pos x="1920" y="58"/>
              </a:cxn>
              <a:cxn ang="0">
                <a:pos x="2126" y="80"/>
              </a:cxn>
              <a:cxn ang="0">
                <a:pos x="2342" y="106"/>
              </a:cxn>
              <a:cxn ang="0">
                <a:pos x="2570" y="138"/>
              </a:cxn>
              <a:cxn ang="0">
                <a:pos x="2808" y="174"/>
              </a:cxn>
              <a:cxn ang="0">
                <a:pos x="3058" y="216"/>
              </a:cxn>
              <a:cxn ang="0">
                <a:pos x="3320" y="266"/>
              </a:cxn>
              <a:cxn ang="0">
                <a:pos x="3594" y="320"/>
              </a:cxn>
              <a:cxn ang="0">
                <a:pos x="3880" y="380"/>
              </a:cxn>
              <a:cxn ang="0">
                <a:pos x="4178" y="448"/>
              </a:cxn>
              <a:cxn ang="0">
                <a:pos x="4488" y="522"/>
              </a:cxn>
              <a:cxn ang="0">
                <a:pos x="4810" y="604"/>
              </a:cxn>
              <a:cxn ang="0">
                <a:pos x="5144" y="694"/>
              </a:cxn>
            </a:cxnLst>
            <a:rect l="0" t="0" r="r" b="b"/>
            <a:pathLst>
              <a:path w="5144" h="694">
                <a:moveTo>
                  <a:pt x="0" y="70"/>
                </a:moveTo>
                <a:lnTo>
                  <a:pt x="0" y="70"/>
                </a:lnTo>
                <a:lnTo>
                  <a:pt x="18" y="66"/>
                </a:lnTo>
                <a:lnTo>
                  <a:pt x="72" y="56"/>
                </a:lnTo>
                <a:lnTo>
                  <a:pt x="164" y="42"/>
                </a:lnTo>
                <a:lnTo>
                  <a:pt x="224" y="34"/>
                </a:lnTo>
                <a:lnTo>
                  <a:pt x="294" y="26"/>
                </a:lnTo>
                <a:lnTo>
                  <a:pt x="372" y="20"/>
                </a:lnTo>
                <a:lnTo>
                  <a:pt x="462" y="14"/>
                </a:lnTo>
                <a:lnTo>
                  <a:pt x="560" y="8"/>
                </a:lnTo>
                <a:lnTo>
                  <a:pt x="670" y="4"/>
                </a:lnTo>
                <a:lnTo>
                  <a:pt x="790" y="2"/>
                </a:lnTo>
                <a:lnTo>
                  <a:pt x="920" y="0"/>
                </a:lnTo>
                <a:lnTo>
                  <a:pt x="1060" y="2"/>
                </a:lnTo>
                <a:lnTo>
                  <a:pt x="1210" y="6"/>
                </a:lnTo>
                <a:lnTo>
                  <a:pt x="1372" y="14"/>
                </a:lnTo>
                <a:lnTo>
                  <a:pt x="1544" y="24"/>
                </a:lnTo>
                <a:lnTo>
                  <a:pt x="1726" y="40"/>
                </a:lnTo>
                <a:lnTo>
                  <a:pt x="1920" y="58"/>
                </a:lnTo>
                <a:lnTo>
                  <a:pt x="2126" y="80"/>
                </a:lnTo>
                <a:lnTo>
                  <a:pt x="2342" y="106"/>
                </a:lnTo>
                <a:lnTo>
                  <a:pt x="2570" y="138"/>
                </a:lnTo>
                <a:lnTo>
                  <a:pt x="2808" y="174"/>
                </a:lnTo>
                <a:lnTo>
                  <a:pt x="3058" y="216"/>
                </a:lnTo>
                <a:lnTo>
                  <a:pt x="3320" y="266"/>
                </a:lnTo>
                <a:lnTo>
                  <a:pt x="3594" y="320"/>
                </a:lnTo>
                <a:lnTo>
                  <a:pt x="3880" y="380"/>
                </a:lnTo>
                <a:lnTo>
                  <a:pt x="4178" y="448"/>
                </a:lnTo>
                <a:lnTo>
                  <a:pt x="4488" y="522"/>
                </a:lnTo>
                <a:lnTo>
                  <a:pt x="4810" y="604"/>
                </a:lnTo>
                <a:lnTo>
                  <a:pt x="5144" y="694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26"/>
          <p:cNvSpPr>
            <a:spLocks/>
          </p:cNvSpPr>
          <p:nvPr/>
        </p:nvSpPr>
        <p:spPr bwMode="hidden">
          <a:xfrm>
            <a:off x="5609489" y="4074174"/>
            <a:ext cx="3308000" cy="651549"/>
          </a:xfrm>
          <a:custGeom>
            <a:avLst/>
            <a:gdLst/>
            <a:ahLst/>
            <a:cxnLst>
              <a:cxn ang="0">
                <a:pos x="0" y="584"/>
              </a:cxn>
              <a:cxn ang="0">
                <a:pos x="0" y="584"/>
              </a:cxn>
              <a:cxn ang="0">
                <a:pos x="90" y="560"/>
              </a:cxn>
              <a:cxn ang="0">
                <a:pos x="336" y="498"/>
              </a:cxn>
              <a:cxn ang="0">
                <a:pos x="506" y="456"/>
              </a:cxn>
              <a:cxn ang="0">
                <a:pos x="702" y="410"/>
              </a:cxn>
              <a:cxn ang="0">
                <a:pos x="920" y="360"/>
              </a:cxn>
              <a:cxn ang="0">
                <a:pos x="1154" y="306"/>
              </a:cxn>
              <a:cxn ang="0">
                <a:pos x="1402" y="254"/>
              </a:cxn>
              <a:cxn ang="0">
                <a:pos x="1656" y="202"/>
              </a:cxn>
              <a:cxn ang="0">
                <a:pos x="1916" y="154"/>
              </a:cxn>
              <a:cxn ang="0">
                <a:pos x="2174" y="108"/>
              </a:cxn>
              <a:cxn ang="0">
                <a:pos x="2302" y="88"/>
              </a:cxn>
              <a:cxn ang="0">
                <a:pos x="2426" y="68"/>
              </a:cxn>
              <a:cxn ang="0">
                <a:pos x="2550" y="52"/>
              </a:cxn>
              <a:cxn ang="0">
                <a:pos x="2670" y="36"/>
              </a:cxn>
              <a:cxn ang="0">
                <a:pos x="2788" y="24"/>
              </a:cxn>
              <a:cxn ang="0">
                <a:pos x="2900" y="14"/>
              </a:cxn>
              <a:cxn ang="0">
                <a:pos x="3008" y="6"/>
              </a:cxn>
              <a:cxn ang="0">
                <a:pos x="3112" y="0"/>
              </a:cxn>
            </a:cxnLst>
            <a:rect l="0" t="0" r="r" b="b"/>
            <a:pathLst>
              <a:path w="3112" h="584">
                <a:moveTo>
                  <a:pt x="0" y="584"/>
                </a:moveTo>
                <a:lnTo>
                  <a:pt x="0" y="584"/>
                </a:lnTo>
                <a:lnTo>
                  <a:pt x="90" y="560"/>
                </a:lnTo>
                <a:lnTo>
                  <a:pt x="336" y="498"/>
                </a:lnTo>
                <a:lnTo>
                  <a:pt x="506" y="456"/>
                </a:lnTo>
                <a:lnTo>
                  <a:pt x="702" y="410"/>
                </a:lnTo>
                <a:lnTo>
                  <a:pt x="920" y="360"/>
                </a:lnTo>
                <a:lnTo>
                  <a:pt x="1154" y="306"/>
                </a:lnTo>
                <a:lnTo>
                  <a:pt x="1402" y="254"/>
                </a:lnTo>
                <a:lnTo>
                  <a:pt x="1656" y="202"/>
                </a:lnTo>
                <a:lnTo>
                  <a:pt x="1916" y="154"/>
                </a:lnTo>
                <a:lnTo>
                  <a:pt x="2174" y="108"/>
                </a:lnTo>
                <a:lnTo>
                  <a:pt x="2302" y="88"/>
                </a:lnTo>
                <a:lnTo>
                  <a:pt x="2426" y="68"/>
                </a:lnTo>
                <a:lnTo>
                  <a:pt x="2550" y="52"/>
                </a:lnTo>
                <a:lnTo>
                  <a:pt x="2670" y="36"/>
                </a:lnTo>
                <a:lnTo>
                  <a:pt x="2788" y="24"/>
                </a:lnTo>
                <a:lnTo>
                  <a:pt x="2900" y="14"/>
                </a:lnTo>
                <a:lnTo>
                  <a:pt x="3008" y="6"/>
                </a:lnTo>
                <a:lnTo>
                  <a:pt x="3112" y="0"/>
                </a:lnTo>
              </a:path>
            </a:pathLst>
          </a:custGeom>
          <a:noFill/>
          <a:ln w="12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 useBgFill="1">
        <p:nvSpPr>
          <p:cNvPr id="13" name="Freeform 10"/>
          <p:cNvSpPr>
            <a:spLocks/>
          </p:cNvSpPr>
          <p:nvPr/>
        </p:nvSpPr>
        <p:spPr bwMode="hidden">
          <a:xfrm>
            <a:off x="211665" y="4058555"/>
            <a:ext cx="8723376" cy="1329874"/>
          </a:xfrm>
          <a:custGeom>
            <a:avLst/>
            <a:gdLst/>
            <a:ahLst/>
            <a:cxnLst>
              <a:cxn ang="0">
                <a:pos x="8192" y="512"/>
              </a:cxn>
              <a:cxn ang="0">
                <a:pos x="8040" y="570"/>
              </a:cxn>
              <a:cxn ang="0">
                <a:pos x="7878" y="620"/>
              </a:cxn>
              <a:cxn ang="0">
                <a:pos x="7706" y="666"/>
              </a:cxn>
              <a:cxn ang="0">
                <a:pos x="7522" y="702"/>
              </a:cxn>
              <a:cxn ang="0">
                <a:pos x="7322" y="730"/>
              </a:cxn>
              <a:cxn ang="0">
                <a:pos x="7106" y="750"/>
              </a:cxn>
              <a:cxn ang="0">
                <a:pos x="6872" y="762"/>
              </a:cxn>
              <a:cxn ang="0">
                <a:pos x="6618" y="760"/>
              </a:cxn>
              <a:cxn ang="0">
                <a:pos x="6342" y="750"/>
              </a:cxn>
              <a:cxn ang="0">
                <a:pos x="6042" y="726"/>
              </a:cxn>
              <a:cxn ang="0">
                <a:pos x="5716" y="690"/>
              </a:cxn>
              <a:cxn ang="0">
                <a:pos x="5364" y="642"/>
              </a:cxn>
              <a:cxn ang="0">
                <a:pos x="4982" y="578"/>
              </a:cxn>
              <a:cxn ang="0">
                <a:pos x="4568" y="500"/>
              </a:cxn>
              <a:cxn ang="0">
                <a:pos x="4122" y="406"/>
              </a:cxn>
              <a:cxn ang="0">
                <a:pos x="3640" y="296"/>
              </a:cxn>
              <a:cxn ang="0">
                <a:pos x="3396" y="240"/>
              </a:cxn>
              <a:cxn ang="0">
                <a:pos x="2934" y="148"/>
              </a:cxn>
              <a:cxn ang="0">
                <a:pos x="2512" y="82"/>
              </a:cxn>
              <a:cxn ang="0">
                <a:pos x="2126" y="36"/>
              </a:cxn>
              <a:cxn ang="0">
                <a:pos x="1776" y="10"/>
              </a:cxn>
              <a:cxn ang="0">
                <a:pos x="1462" y="0"/>
              </a:cxn>
              <a:cxn ang="0">
                <a:pos x="1182" y="4"/>
              </a:cxn>
              <a:cxn ang="0">
                <a:pos x="934" y="20"/>
              </a:cxn>
              <a:cxn ang="0">
                <a:pos x="716" y="44"/>
              </a:cxn>
              <a:cxn ang="0">
                <a:pos x="530" y="74"/>
              </a:cxn>
              <a:cxn ang="0">
                <a:pos x="374" y="108"/>
              </a:cxn>
              <a:cxn ang="0">
                <a:pos x="248" y="144"/>
              </a:cxn>
              <a:cxn ang="0">
                <a:pos x="148" y="176"/>
              </a:cxn>
              <a:cxn ang="0">
                <a:pos x="48" y="216"/>
              </a:cxn>
              <a:cxn ang="0">
                <a:pos x="0" y="240"/>
              </a:cxn>
              <a:cxn ang="0">
                <a:pos x="8192" y="1192"/>
              </a:cxn>
              <a:cxn ang="0">
                <a:pos x="8196" y="1186"/>
              </a:cxn>
              <a:cxn ang="0">
                <a:pos x="8196" y="510"/>
              </a:cxn>
              <a:cxn ang="0">
                <a:pos x="8192" y="512"/>
              </a:cxn>
            </a:cxnLst>
            <a:rect l="0" t="0" r="r" b="b"/>
            <a:pathLst>
              <a:path w="8196" h="1192">
                <a:moveTo>
                  <a:pt x="8192" y="512"/>
                </a:moveTo>
                <a:lnTo>
                  <a:pt x="8192" y="512"/>
                </a:lnTo>
                <a:lnTo>
                  <a:pt x="8116" y="542"/>
                </a:lnTo>
                <a:lnTo>
                  <a:pt x="8040" y="570"/>
                </a:lnTo>
                <a:lnTo>
                  <a:pt x="7960" y="596"/>
                </a:lnTo>
                <a:lnTo>
                  <a:pt x="7878" y="620"/>
                </a:lnTo>
                <a:lnTo>
                  <a:pt x="7794" y="644"/>
                </a:lnTo>
                <a:lnTo>
                  <a:pt x="7706" y="666"/>
                </a:lnTo>
                <a:lnTo>
                  <a:pt x="7616" y="684"/>
                </a:lnTo>
                <a:lnTo>
                  <a:pt x="7522" y="702"/>
                </a:lnTo>
                <a:lnTo>
                  <a:pt x="7424" y="718"/>
                </a:lnTo>
                <a:lnTo>
                  <a:pt x="7322" y="730"/>
                </a:lnTo>
                <a:lnTo>
                  <a:pt x="7216" y="742"/>
                </a:lnTo>
                <a:lnTo>
                  <a:pt x="7106" y="750"/>
                </a:lnTo>
                <a:lnTo>
                  <a:pt x="6992" y="758"/>
                </a:lnTo>
                <a:lnTo>
                  <a:pt x="6872" y="762"/>
                </a:lnTo>
                <a:lnTo>
                  <a:pt x="6748" y="762"/>
                </a:lnTo>
                <a:lnTo>
                  <a:pt x="6618" y="760"/>
                </a:lnTo>
                <a:lnTo>
                  <a:pt x="6482" y="756"/>
                </a:lnTo>
                <a:lnTo>
                  <a:pt x="6342" y="750"/>
                </a:lnTo>
                <a:lnTo>
                  <a:pt x="6196" y="740"/>
                </a:lnTo>
                <a:lnTo>
                  <a:pt x="6042" y="726"/>
                </a:lnTo>
                <a:lnTo>
                  <a:pt x="5882" y="710"/>
                </a:lnTo>
                <a:lnTo>
                  <a:pt x="5716" y="690"/>
                </a:lnTo>
                <a:lnTo>
                  <a:pt x="5544" y="668"/>
                </a:lnTo>
                <a:lnTo>
                  <a:pt x="5364" y="642"/>
                </a:lnTo>
                <a:lnTo>
                  <a:pt x="5176" y="612"/>
                </a:lnTo>
                <a:lnTo>
                  <a:pt x="4982" y="578"/>
                </a:lnTo>
                <a:lnTo>
                  <a:pt x="4778" y="540"/>
                </a:lnTo>
                <a:lnTo>
                  <a:pt x="4568" y="500"/>
                </a:lnTo>
                <a:lnTo>
                  <a:pt x="4348" y="454"/>
                </a:lnTo>
                <a:lnTo>
                  <a:pt x="4122" y="406"/>
                </a:lnTo>
                <a:lnTo>
                  <a:pt x="3886" y="354"/>
                </a:lnTo>
                <a:lnTo>
                  <a:pt x="3640" y="296"/>
                </a:lnTo>
                <a:lnTo>
                  <a:pt x="3640" y="296"/>
                </a:lnTo>
                <a:lnTo>
                  <a:pt x="3396" y="240"/>
                </a:lnTo>
                <a:lnTo>
                  <a:pt x="3160" y="192"/>
                </a:lnTo>
                <a:lnTo>
                  <a:pt x="2934" y="148"/>
                </a:lnTo>
                <a:lnTo>
                  <a:pt x="2718" y="112"/>
                </a:lnTo>
                <a:lnTo>
                  <a:pt x="2512" y="82"/>
                </a:lnTo>
                <a:lnTo>
                  <a:pt x="2314" y="56"/>
                </a:lnTo>
                <a:lnTo>
                  <a:pt x="2126" y="36"/>
                </a:lnTo>
                <a:lnTo>
                  <a:pt x="1948" y="20"/>
                </a:lnTo>
                <a:lnTo>
                  <a:pt x="1776" y="10"/>
                </a:lnTo>
                <a:lnTo>
                  <a:pt x="1616" y="2"/>
                </a:lnTo>
                <a:lnTo>
                  <a:pt x="1462" y="0"/>
                </a:lnTo>
                <a:lnTo>
                  <a:pt x="1318" y="0"/>
                </a:lnTo>
                <a:lnTo>
                  <a:pt x="1182" y="4"/>
                </a:lnTo>
                <a:lnTo>
                  <a:pt x="1054" y="10"/>
                </a:lnTo>
                <a:lnTo>
                  <a:pt x="934" y="20"/>
                </a:lnTo>
                <a:lnTo>
                  <a:pt x="822" y="30"/>
                </a:lnTo>
                <a:lnTo>
                  <a:pt x="716" y="44"/>
                </a:lnTo>
                <a:lnTo>
                  <a:pt x="620" y="58"/>
                </a:lnTo>
                <a:lnTo>
                  <a:pt x="530" y="74"/>
                </a:lnTo>
                <a:lnTo>
                  <a:pt x="450" y="92"/>
                </a:lnTo>
                <a:lnTo>
                  <a:pt x="374" y="108"/>
                </a:lnTo>
                <a:lnTo>
                  <a:pt x="308" y="126"/>
                </a:lnTo>
                <a:lnTo>
                  <a:pt x="248" y="144"/>
                </a:lnTo>
                <a:lnTo>
                  <a:pt x="194" y="160"/>
                </a:lnTo>
                <a:lnTo>
                  <a:pt x="148" y="176"/>
                </a:lnTo>
                <a:lnTo>
                  <a:pt x="108" y="192"/>
                </a:lnTo>
                <a:lnTo>
                  <a:pt x="48" y="216"/>
                </a:lnTo>
                <a:lnTo>
                  <a:pt x="12" y="234"/>
                </a:lnTo>
                <a:lnTo>
                  <a:pt x="0" y="240"/>
                </a:lnTo>
                <a:lnTo>
                  <a:pt x="0" y="1192"/>
                </a:lnTo>
                <a:lnTo>
                  <a:pt x="8192" y="1192"/>
                </a:lnTo>
                <a:lnTo>
                  <a:pt x="8192" y="1192"/>
                </a:lnTo>
                <a:lnTo>
                  <a:pt x="8196" y="1186"/>
                </a:lnTo>
                <a:lnTo>
                  <a:pt x="8196" y="1186"/>
                </a:lnTo>
                <a:lnTo>
                  <a:pt x="8196" y="510"/>
                </a:lnTo>
                <a:lnTo>
                  <a:pt x="8196" y="510"/>
                </a:lnTo>
                <a:lnTo>
                  <a:pt x="8192" y="512"/>
                </a:lnTo>
                <a:lnTo>
                  <a:pt x="8192" y="512"/>
                </a:lnTo>
                <a:close/>
              </a:path>
            </a:pathLst>
          </a:custGeom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032" y="2463560"/>
            <a:ext cx="7772400" cy="1524000"/>
          </a:xfrm>
        </p:spPr>
        <p:txBody>
          <a:bodyPr anchor="t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7365" y="1437448"/>
            <a:ext cx="6417734" cy="939801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76655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2679192"/>
            <a:ext cx="3822192" cy="3447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678114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7332" y="3429000"/>
            <a:ext cx="3820055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678113"/>
            <a:ext cx="3822192" cy="639762"/>
          </a:xfrm>
        </p:spPr>
        <p:txBody>
          <a:bodyPr anchor="ctr"/>
          <a:lstStyle>
            <a:lvl1pPr marL="0" indent="0" algn="ctr">
              <a:buNone/>
              <a:defRPr sz="2400" b="0" i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3429000"/>
            <a:ext cx="3822192" cy="26971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29874"/>
            <a:chOff x="-3905251" y="4294188"/>
            <a:chExt cx="13027839" cy="1892300"/>
          </a:xfrm>
        </p:grpSpPr>
        <p:sp>
          <p:nvSpPr>
            <p:cNvPr id="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1426464"/>
          </a:xfrm>
          <a:prstGeom prst="roundRect">
            <a:avLst>
              <a:gd name="adj" fmla="val 7136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3581400"/>
            <a:ext cx="3352800" cy="19050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Group 23"/>
          <p:cNvGrpSpPr>
            <a:grpSpLocks noChangeAspect="1"/>
          </p:cNvGrpSpPr>
          <p:nvPr/>
        </p:nvGrpSpPr>
        <p:grpSpPr bwMode="hidden">
          <a:xfrm>
            <a:off x="211665" y="714191"/>
            <a:ext cx="8723376" cy="1331580"/>
            <a:chOff x="-3905250" y="4294188"/>
            <a:chExt cx="13011150" cy="1892300"/>
          </a:xfrm>
        </p:grpSpPr>
        <p:sp>
          <p:nvSpPr>
            <p:cNvPr id="25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9" name="Freeform 28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914400" y="2286000"/>
            <a:ext cx="3352800" cy="1252728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1962" y="1828800"/>
            <a:ext cx="3904076" cy="3810000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tx2"/>
                </a:solidFill>
              </a:defRPr>
            </a:lvl1pPr>
            <a:lvl2pPr>
              <a:buClr>
                <a:schemeClr val="bg1"/>
              </a:buClr>
              <a:defRPr sz="2000">
                <a:solidFill>
                  <a:schemeClr val="tx2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tx2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tx2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228600" y="228600"/>
            <a:ext cx="8695944" cy="6035040"/>
          </a:xfrm>
          <a:prstGeom prst="roundRect">
            <a:avLst>
              <a:gd name="adj" fmla="val 127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 bwMode="hidden">
          <a:xfrm>
            <a:off x="211665" y="5353963"/>
            <a:ext cx="8723376" cy="1331580"/>
            <a:chOff x="-3905250" y="4294188"/>
            <a:chExt cx="13011150" cy="1892300"/>
          </a:xfrm>
        </p:grpSpPr>
        <p:sp>
          <p:nvSpPr>
            <p:cNvPr id="10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14" name="Freeform 10"/>
            <p:cNvSpPr>
              <a:spLocks/>
            </p:cNvSpPr>
            <p:nvPr/>
          </p:nvSpPr>
          <p:spPr bwMode="hidden">
            <a:xfrm>
              <a:off x="-3905250" y="4294188"/>
              <a:ext cx="13011150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4155" y="338667"/>
            <a:ext cx="3812645" cy="2429934"/>
          </a:xfrm>
        </p:spPr>
        <p:txBody>
          <a:bodyPr anchor="b"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8333" y="2785533"/>
            <a:ext cx="3818467" cy="24214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1371600"/>
            <a:ext cx="3566160" cy="2926080"/>
          </a:xfrm>
          <a:prstGeom prst="roundRect">
            <a:avLst>
              <a:gd name="adj" fmla="val 3924"/>
            </a:avLst>
          </a:prstGeom>
          <a:solidFill>
            <a:schemeClr val="accent1"/>
          </a:solidFill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 fov="600000">
              <a:rot lat="240000" lon="19799999" rev="0"/>
            </a:camera>
            <a:lightRig rig="threePt" dir="t">
              <a:rot lat="0" lon="0" rev="2700000"/>
            </a:lightRig>
          </a:scene3d>
          <a:sp3d>
            <a:bevelT w="44450" h="31750"/>
          </a:sp3d>
        </p:spPr>
        <p:txBody>
          <a:bodyPr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228600" y="228600"/>
            <a:ext cx="8695944" cy="2468880"/>
          </a:xfrm>
          <a:prstGeom prst="roundRect">
            <a:avLst>
              <a:gd name="adj" fmla="val 3362"/>
            </a:avLst>
          </a:prstGeom>
          <a:gradFill>
            <a:gsLst>
              <a:gs pos="0">
                <a:schemeClr val="accent1">
                  <a:lumMod val="75000"/>
                </a:schemeClr>
              </a:gs>
              <a:gs pos="9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 bwMode="hidden">
          <a:xfrm>
            <a:off x="211665" y="1679429"/>
            <a:ext cx="8723376" cy="1329874"/>
            <a:chOff x="-3905251" y="4294188"/>
            <a:chExt cx="13027839" cy="1892300"/>
          </a:xfrm>
        </p:grpSpPr>
        <p:sp>
          <p:nvSpPr>
            <p:cNvPr id="17" name="Freeform 14"/>
            <p:cNvSpPr>
              <a:spLocks/>
            </p:cNvSpPr>
            <p:nvPr/>
          </p:nvSpPr>
          <p:spPr bwMode="hidden">
            <a:xfrm>
              <a:off x="4810125" y="4500563"/>
              <a:ext cx="4295775" cy="1016000"/>
            </a:xfrm>
            <a:custGeom>
              <a:avLst/>
              <a:gdLst/>
              <a:ahLst/>
              <a:cxnLst>
                <a:cxn ang="0">
                  <a:pos x="2700" y="0"/>
                </a:cxn>
                <a:cxn ang="0">
                  <a:pos x="2700" y="0"/>
                </a:cxn>
                <a:cxn ang="0">
                  <a:pos x="2586" y="18"/>
                </a:cxn>
                <a:cxn ang="0">
                  <a:pos x="2470" y="38"/>
                </a:cxn>
                <a:cxn ang="0">
                  <a:pos x="2352" y="60"/>
                </a:cxn>
                <a:cxn ang="0">
                  <a:pos x="2230" y="82"/>
                </a:cxn>
                <a:cxn ang="0">
                  <a:pos x="2106" y="108"/>
                </a:cxn>
                <a:cxn ang="0">
                  <a:pos x="1978" y="134"/>
                </a:cxn>
                <a:cxn ang="0">
                  <a:pos x="1848" y="164"/>
                </a:cxn>
                <a:cxn ang="0">
                  <a:pos x="1714" y="194"/>
                </a:cxn>
                <a:cxn ang="0">
                  <a:pos x="1714" y="194"/>
                </a:cxn>
                <a:cxn ang="0">
                  <a:pos x="1472" y="252"/>
                </a:cxn>
                <a:cxn ang="0">
                  <a:pos x="1236" y="304"/>
                </a:cxn>
                <a:cxn ang="0">
                  <a:pos x="1010" y="352"/>
                </a:cxn>
                <a:cxn ang="0">
                  <a:pos x="792" y="398"/>
                </a:cxn>
                <a:cxn ang="0">
                  <a:pos x="584" y="438"/>
                </a:cxn>
                <a:cxn ang="0">
                  <a:pos x="382" y="474"/>
                </a:cxn>
                <a:cxn ang="0">
                  <a:pos x="188" y="508"/>
                </a:cxn>
                <a:cxn ang="0">
                  <a:pos x="0" y="538"/>
                </a:cxn>
                <a:cxn ang="0">
                  <a:pos x="0" y="538"/>
                </a:cxn>
                <a:cxn ang="0">
                  <a:pos x="130" y="556"/>
                </a:cxn>
                <a:cxn ang="0">
                  <a:pos x="254" y="572"/>
                </a:cxn>
                <a:cxn ang="0">
                  <a:pos x="374" y="586"/>
                </a:cxn>
                <a:cxn ang="0">
                  <a:pos x="492" y="598"/>
                </a:cxn>
                <a:cxn ang="0">
                  <a:pos x="606" y="610"/>
                </a:cxn>
                <a:cxn ang="0">
                  <a:pos x="716" y="618"/>
                </a:cxn>
                <a:cxn ang="0">
                  <a:pos x="822" y="626"/>
                </a:cxn>
                <a:cxn ang="0">
                  <a:pos x="926" y="632"/>
                </a:cxn>
                <a:cxn ang="0">
                  <a:pos x="1028" y="636"/>
                </a:cxn>
                <a:cxn ang="0">
                  <a:pos x="1126" y="638"/>
                </a:cxn>
                <a:cxn ang="0">
                  <a:pos x="1220" y="640"/>
                </a:cxn>
                <a:cxn ang="0">
                  <a:pos x="1312" y="640"/>
                </a:cxn>
                <a:cxn ang="0">
                  <a:pos x="1402" y="638"/>
                </a:cxn>
                <a:cxn ang="0">
                  <a:pos x="1490" y="636"/>
                </a:cxn>
                <a:cxn ang="0">
                  <a:pos x="1574" y="632"/>
                </a:cxn>
                <a:cxn ang="0">
                  <a:pos x="1656" y="626"/>
                </a:cxn>
                <a:cxn ang="0">
                  <a:pos x="1734" y="620"/>
                </a:cxn>
                <a:cxn ang="0">
                  <a:pos x="1812" y="612"/>
                </a:cxn>
                <a:cxn ang="0">
                  <a:pos x="1886" y="602"/>
                </a:cxn>
                <a:cxn ang="0">
                  <a:pos x="1960" y="592"/>
                </a:cxn>
                <a:cxn ang="0">
                  <a:pos x="2030" y="580"/>
                </a:cxn>
                <a:cxn ang="0">
                  <a:pos x="2100" y="568"/>
                </a:cxn>
                <a:cxn ang="0">
                  <a:pos x="2166" y="554"/>
                </a:cxn>
                <a:cxn ang="0">
                  <a:pos x="2232" y="540"/>
                </a:cxn>
                <a:cxn ang="0">
                  <a:pos x="2296" y="524"/>
                </a:cxn>
                <a:cxn ang="0">
                  <a:pos x="2358" y="508"/>
                </a:cxn>
                <a:cxn ang="0">
                  <a:pos x="2418" y="490"/>
                </a:cxn>
                <a:cxn ang="0">
                  <a:pos x="2478" y="472"/>
                </a:cxn>
                <a:cxn ang="0">
                  <a:pos x="2592" y="432"/>
                </a:cxn>
                <a:cxn ang="0">
                  <a:pos x="2702" y="390"/>
                </a:cxn>
                <a:cxn ang="0">
                  <a:pos x="2702" y="390"/>
                </a:cxn>
                <a:cxn ang="0">
                  <a:pos x="2706" y="388"/>
                </a:cxn>
                <a:cxn ang="0">
                  <a:pos x="2706" y="388"/>
                </a:cxn>
                <a:cxn ang="0">
                  <a:pos x="2706" y="0"/>
                </a:cxn>
                <a:cxn ang="0">
                  <a:pos x="2706" y="0"/>
                </a:cxn>
                <a:cxn ang="0">
                  <a:pos x="2700" y="0"/>
                </a:cxn>
                <a:cxn ang="0">
                  <a:pos x="2700" y="0"/>
                </a:cxn>
              </a:cxnLst>
              <a:rect l="0" t="0" r="r" b="b"/>
              <a:pathLst>
                <a:path w="2706" h="640">
                  <a:moveTo>
                    <a:pt x="2700" y="0"/>
                  </a:moveTo>
                  <a:lnTo>
                    <a:pt x="2700" y="0"/>
                  </a:lnTo>
                  <a:lnTo>
                    <a:pt x="2586" y="18"/>
                  </a:lnTo>
                  <a:lnTo>
                    <a:pt x="2470" y="38"/>
                  </a:lnTo>
                  <a:lnTo>
                    <a:pt x="2352" y="60"/>
                  </a:lnTo>
                  <a:lnTo>
                    <a:pt x="2230" y="82"/>
                  </a:lnTo>
                  <a:lnTo>
                    <a:pt x="2106" y="108"/>
                  </a:lnTo>
                  <a:lnTo>
                    <a:pt x="1978" y="134"/>
                  </a:lnTo>
                  <a:lnTo>
                    <a:pt x="1848" y="164"/>
                  </a:lnTo>
                  <a:lnTo>
                    <a:pt x="1714" y="194"/>
                  </a:lnTo>
                  <a:lnTo>
                    <a:pt x="1714" y="194"/>
                  </a:lnTo>
                  <a:lnTo>
                    <a:pt x="1472" y="252"/>
                  </a:lnTo>
                  <a:lnTo>
                    <a:pt x="1236" y="304"/>
                  </a:lnTo>
                  <a:lnTo>
                    <a:pt x="1010" y="352"/>
                  </a:lnTo>
                  <a:lnTo>
                    <a:pt x="792" y="398"/>
                  </a:lnTo>
                  <a:lnTo>
                    <a:pt x="584" y="438"/>
                  </a:lnTo>
                  <a:lnTo>
                    <a:pt x="382" y="474"/>
                  </a:lnTo>
                  <a:lnTo>
                    <a:pt x="188" y="508"/>
                  </a:lnTo>
                  <a:lnTo>
                    <a:pt x="0" y="538"/>
                  </a:lnTo>
                  <a:lnTo>
                    <a:pt x="0" y="538"/>
                  </a:lnTo>
                  <a:lnTo>
                    <a:pt x="130" y="556"/>
                  </a:lnTo>
                  <a:lnTo>
                    <a:pt x="254" y="572"/>
                  </a:lnTo>
                  <a:lnTo>
                    <a:pt x="374" y="586"/>
                  </a:lnTo>
                  <a:lnTo>
                    <a:pt x="492" y="598"/>
                  </a:lnTo>
                  <a:lnTo>
                    <a:pt x="606" y="610"/>
                  </a:lnTo>
                  <a:lnTo>
                    <a:pt x="716" y="618"/>
                  </a:lnTo>
                  <a:lnTo>
                    <a:pt x="822" y="626"/>
                  </a:lnTo>
                  <a:lnTo>
                    <a:pt x="926" y="632"/>
                  </a:lnTo>
                  <a:lnTo>
                    <a:pt x="1028" y="636"/>
                  </a:lnTo>
                  <a:lnTo>
                    <a:pt x="1126" y="638"/>
                  </a:lnTo>
                  <a:lnTo>
                    <a:pt x="1220" y="640"/>
                  </a:lnTo>
                  <a:lnTo>
                    <a:pt x="1312" y="640"/>
                  </a:lnTo>
                  <a:lnTo>
                    <a:pt x="1402" y="638"/>
                  </a:lnTo>
                  <a:lnTo>
                    <a:pt x="1490" y="636"/>
                  </a:lnTo>
                  <a:lnTo>
                    <a:pt x="1574" y="632"/>
                  </a:lnTo>
                  <a:lnTo>
                    <a:pt x="1656" y="626"/>
                  </a:lnTo>
                  <a:lnTo>
                    <a:pt x="1734" y="620"/>
                  </a:lnTo>
                  <a:lnTo>
                    <a:pt x="1812" y="612"/>
                  </a:lnTo>
                  <a:lnTo>
                    <a:pt x="1886" y="602"/>
                  </a:lnTo>
                  <a:lnTo>
                    <a:pt x="1960" y="592"/>
                  </a:lnTo>
                  <a:lnTo>
                    <a:pt x="2030" y="580"/>
                  </a:lnTo>
                  <a:lnTo>
                    <a:pt x="2100" y="568"/>
                  </a:lnTo>
                  <a:lnTo>
                    <a:pt x="2166" y="554"/>
                  </a:lnTo>
                  <a:lnTo>
                    <a:pt x="2232" y="540"/>
                  </a:lnTo>
                  <a:lnTo>
                    <a:pt x="2296" y="524"/>
                  </a:lnTo>
                  <a:lnTo>
                    <a:pt x="2358" y="508"/>
                  </a:lnTo>
                  <a:lnTo>
                    <a:pt x="2418" y="490"/>
                  </a:lnTo>
                  <a:lnTo>
                    <a:pt x="2478" y="472"/>
                  </a:lnTo>
                  <a:lnTo>
                    <a:pt x="2592" y="432"/>
                  </a:lnTo>
                  <a:lnTo>
                    <a:pt x="2702" y="390"/>
                  </a:lnTo>
                  <a:lnTo>
                    <a:pt x="2702" y="390"/>
                  </a:lnTo>
                  <a:lnTo>
                    <a:pt x="2706" y="388"/>
                  </a:lnTo>
                  <a:lnTo>
                    <a:pt x="2706" y="388"/>
                  </a:lnTo>
                  <a:lnTo>
                    <a:pt x="2706" y="0"/>
                  </a:lnTo>
                  <a:lnTo>
                    <a:pt x="2706" y="0"/>
                  </a:lnTo>
                  <a:lnTo>
                    <a:pt x="2700" y="0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bg2">
                <a:alpha val="29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hidden">
            <a:xfrm>
              <a:off x="-309563" y="4318000"/>
              <a:ext cx="8280401" cy="1209675"/>
            </a:xfrm>
            <a:custGeom>
              <a:avLst/>
              <a:gdLst/>
              <a:ahLst/>
              <a:cxnLst>
                <a:cxn ang="0">
                  <a:pos x="5216" y="714"/>
                </a:cxn>
                <a:cxn ang="0">
                  <a:pos x="4984" y="686"/>
                </a:cxn>
                <a:cxn ang="0">
                  <a:pos x="4478" y="610"/>
                </a:cxn>
                <a:cxn ang="0">
                  <a:pos x="3914" y="508"/>
                </a:cxn>
                <a:cxn ang="0">
                  <a:pos x="3286" y="374"/>
                </a:cxn>
                <a:cxn ang="0">
                  <a:pos x="2946" y="296"/>
                </a:cxn>
                <a:cxn ang="0">
                  <a:pos x="2682" y="236"/>
                </a:cxn>
                <a:cxn ang="0">
                  <a:pos x="2430" y="184"/>
                </a:cxn>
                <a:cxn ang="0">
                  <a:pos x="2190" y="140"/>
                </a:cxn>
                <a:cxn ang="0">
                  <a:pos x="1960" y="102"/>
                </a:cxn>
                <a:cxn ang="0">
                  <a:pos x="1740" y="72"/>
                </a:cxn>
                <a:cxn ang="0">
                  <a:pos x="1334" y="28"/>
                </a:cxn>
                <a:cxn ang="0">
                  <a:pos x="970" y="4"/>
                </a:cxn>
                <a:cxn ang="0">
                  <a:pos x="644" y="0"/>
                </a:cxn>
                <a:cxn ang="0">
                  <a:pos x="358" y="10"/>
                </a:cxn>
                <a:cxn ang="0">
                  <a:pos x="110" y="32"/>
                </a:cxn>
                <a:cxn ang="0">
                  <a:pos x="0" y="48"/>
                </a:cxn>
                <a:cxn ang="0">
                  <a:pos x="314" y="86"/>
                </a:cxn>
                <a:cxn ang="0">
                  <a:pos x="652" y="140"/>
                </a:cxn>
                <a:cxn ang="0">
                  <a:pos x="1014" y="210"/>
                </a:cxn>
                <a:cxn ang="0">
                  <a:pos x="1402" y="296"/>
                </a:cxn>
                <a:cxn ang="0">
                  <a:pos x="1756" y="378"/>
                </a:cxn>
                <a:cxn ang="0">
                  <a:pos x="2408" y="516"/>
                </a:cxn>
                <a:cxn ang="0">
                  <a:pos x="2708" y="572"/>
                </a:cxn>
                <a:cxn ang="0">
                  <a:pos x="2992" y="620"/>
                </a:cxn>
                <a:cxn ang="0">
                  <a:pos x="3260" y="662"/>
                </a:cxn>
                <a:cxn ang="0">
                  <a:pos x="3512" y="694"/>
                </a:cxn>
                <a:cxn ang="0">
                  <a:pos x="3750" y="722"/>
                </a:cxn>
                <a:cxn ang="0">
                  <a:pos x="3974" y="740"/>
                </a:cxn>
                <a:cxn ang="0">
                  <a:pos x="4184" y="754"/>
                </a:cxn>
                <a:cxn ang="0">
                  <a:pos x="4384" y="762"/>
                </a:cxn>
                <a:cxn ang="0">
                  <a:pos x="4570" y="762"/>
                </a:cxn>
                <a:cxn ang="0">
                  <a:pos x="4746" y="758"/>
                </a:cxn>
                <a:cxn ang="0">
                  <a:pos x="4912" y="748"/>
                </a:cxn>
                <a:cxn ang="0">
                  <a:pos x="5068" y="732"/>
                </a:cxn>
                <a:cxn ang="0">
                  <a:pos x="5216" y="714"/>
                </a:cxn>
              </a:cxnLst>
              <a:rect l="0" t="0" r="r" b="b"/>
              <a:pathLst>
                <a:path w="5216" h="762">
                  <a:moveTo>
                    <a:pt x="5216" y="714"/>
                  </a:moveTo>
                  <a:lnTo>
                    <a:pt x="5216" y="714"/>
                  </a:lnTo>
                  <a:lnTo>
                    <a:pt x="5102" y="700"/>
                  </a:lnTo>
                  <a:lnTo>
                    <a:pt x="4984" y="686"/>
                  </a:lnTo>
                  <a:lnTo>
                    <a:pt x="4738" y="652"/>
                  </a:lnTo>
                  <a:lnTo>
                    <a:pt x="4478" y="610"/>
                  </a:lnTo>
                  <a:lnTo>
                    <a:pt x="4204" y="564"/>
                  </a:lnTo>
                  <a:lnTo>
                    <a:pt x="3914" y="508"/>
                  </a:lnTo>
                  <a:lnTo>
                    <a:pt x="3608" y="446"/>
                  </a:lnTo>
                  <a:lnTo>
                    <a:pt x="3286" y="374"/>
                  </a:lnTo>
                  <a:lnTo>
                    <a:pt x="2946" y="296"/>
                  </a:lnTo>
                  <a:lnTo>
                    <a:pt x="2946" y="296"/>
                  </a:lnTo>
                  <a:lnTo>
                    <a:pt x="2812" y="266"/>
                  </a:lnTo>
                  <a:lnTo>
                    <a:pt x="2682" y="236"/>
                  </a:lnTo>
                  <a:lnTo>
                    <a:pt x="2556" y="210"/>
                  </a:lnTo>
                  <a:lnTo>
                    <a:pt x="2430" y="184"/>
                  </a:lnTo>
                  <a:lnTo>
                    <a:pt x="2308" y="162"/>
                  </a:lnTo>
                  <a:lnTo>
                    <a:pt x="2190" y="140"/>
                  </a:lnTo>
                  <a:lnTo>
                    <a:pt x="2074" y="120"/>
                  </a:lnTo>
                  <a:lnTo>
                    <a:pt x="1960" y="102"/>
                  </a:lnTo>
                  <a:lnTo>
                    <a:pt x="1850" y="86"/>
                  </a:lnTo>
                  <a:lnTo>
                    <a:pt x="1740" y="72"/>
                  </a:lnTo>
                  <a:lnTo>
                    <a:pt x="1532" y="46"/>
                  </a:lnTo>
                  <a:lnTo>
                    <a:pt x="1334" y="28"/>
                  </a:lnTo>
                  <a:lnTo>
                    <a:pt x="1148" y="14"/>
                  </a:lnTo>
                  <a:lnTo>
                    <a:pt x="970" y="4"/>
                  </a:lnTo>
                  <a:lnTo>
                    <a:pt x="802" y="0"/>
                  </a:lnTo>
                  <a:lnTo>
                    <a:pt x="644" y="0"/>
                  </a:lnTo>
                  <a:lnTo>
                    <a:pt x="496" y="4"/>
                  </a:lnTo>
                  <a:lnTo>
                    <a:pt x="358" y="10"/>
                  </a:lnTo>
                  <a:lnTo>
                    <a:pt x="230" y="20"/>
                  </a:lnTo>
                  <a:lnTo>
                    <a:pt x="110" y="3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154" y="66"/>
                  </a:lnTo>
                  <a:lnTo>
                    <a:pt x="314" y="86"/>
                  </a:lnTo>
                  <a:lnTo>
                    <a:pt x="480" y="112"/>
                  </a:lnTo>
                  <a:lnTo>
                    <a:pt x="652" y="140"/>
                  </a:lnTo>
                  <a:lnTo>
                    <a:pt x="830" y="174"/>
                  </a:lnTo>
                  <a:lnTo>
                    <a:pt x="1014" y="210"/>
                  </a:lnTo>
                  <a:lnTo>
                    <a:pt x="1206" y="250"/>
                  </a:lnTo>
                  <a:lnTo>
                    <a:pt x="1402" y="296"/>
                  </a:lnTo>
                  <a:lnTo>
                    <a:pt x="1402" y="296"/>
                  </a:lnTo>
                  <a:lnTo>
                    <a:pt x="1756" y="378"/>
                  </a:lnTo>
                  <a:lnTo>
                    <a:pt x="2092" y="450"/>
                  </a:lnTo>
                  <a:lnTo>
                    <a:pt x="2408" y="516"/>
                  </a:lnTo>
                  <a:lnTo>
                    <a:pt x="2562" y="544"/>
                  </a:lnTo>
                  <a:lnTo>
                    <a:pt x="2708" y="572"/>
                  </a:lnTo>
                  <a:lnTo>
                    <a:pt x="2852" y="598"/>
                  </a:lnTo>
                  <a:lnTo>
                    <a:pt x="2992" y="620"/>
                  </a:lnTo>
                  <a:lnTo>
                    <a:pt x="3128" y="642"/>
                  </a:lnTo>
                  <a:lnTo>
                    <a:pt x="3260" y="662"/>
                  </a:lnTo>
                  <a:lnTo>
                    <a:pt x="3388" y="678"/>
                  </a:lnTo>
                  <a:lnTo>
                    <a:pt x="3512" y="694"/>
                  </a:lnTo>
                  <a:lnTo>
                    <a:pt x="3632" y="708"/>
                  </a:lnTo>
                  <a:lnTo>
                    <a:pt x="3750" y="722"/>
                  </a:lnTo>
                  <a:lnTo>
                    <a:pt x="3864" y="732"/>
                  </a:lnTo>
                  <a:lnTo>
                    <a:pt x="3974" y="740"/>
                  </a:lnTo>
                  <a:lnTo>
                    <a:pt x="4080" y="748"/>
                  </a:lnTo>
                  <a:lnTo>
                    <a:pt x="4184" y="754"/>
                  </a:lnTo>
                  <a:lnTo>
                    <a:pt x="4286" y="758"/>
                  </a:lnTo>
                  <a:lnTo>
                    <a:pt x="4384" y="762"/>
                  </a:lnTo>
                  <a:lnTo>
                    <a:pt x="4478" y="762"/>
                  </a:lnTo>
                  <a:lnTo>
                    <a:pt x="4570" y="762"/>
                  </a:lnTo>
                  <a:lnTo>
                    <a:pt x="4660" y="760"/>
                  </a:lnTo>
                  <a:lnTo>
                    <a:pt x="4746" y="758"/>
                  </a:lnTo>
                  <a:lnTo>
                    <a:pt x="4830" y="754"/>
                  </a:lnTo>
                  <a:lnTo>
                    <a:pt x="4912" y="748"/>
                  </a:lnTo>
                  <a:lnTo>
                    <a:pt x="4992" y="740"/>
                  </a:lnTo>
                  <a:lnTo>
                    <a:pt x="5068" y="732"/>
                  </a:lnTo>
                  <a:lnTo>
                    <a:pt x="5144" y="724"/>
                  </a:lnTo>
                  <a:lnTo>
                    <a:pt x="5216" y="714"/>
                  </a:lnTo>
                  <a:lnTo>
                    <a:pt x="5216" y="714"/>
                  </a:lnTo>
                  <a:close/>
                </a:path>
              </a:pathLst>
            </a:custGeom>
            <a:solidFill>
              <a:schemeClr val="bg2">
                <a:alpha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hidden">
            <a:xfrm>
              <a:off x="3175" y="4335463"/>
              <a:ext cx="8166100" cy="1101725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70"/>
                </a:cxn>
                <a:cxn ang="0">
                  <a:pos x="18" y="66"/>
                </a:cxn>
                <a:cxn ang="0">
                  <a:pos x="72" y="56"/>
                </a:cxn>
                <a:cxn ang="0">
                  <a:pos x="164" y="42"/>
                </a:cxn>
                <a:cxn ang="0">
                  <a:pos x="224" y="34"/>
                </a:cxn>
                <a:cxn ang="0">
                  <a:pos x="294" y="26"/>
                </a:cxn>
                <a:cxn ang="0">
                  <a:pos x="372" y="20"/>
                </a:cxn>
                <a:cxn ang="0">
                  <a:pos x="462" y="14"/>
                </a:cxn>
                <a:cxn ang="0">
                  <a:pos x="560" y="8"/>
                </a:cxn>
                <a:cxn ang="0">
                  <a:pos x="670" y="4"/>
                </a:cxn>
                <a:cxn ang="0">
                  <a:pos x="790" y="2"/>
                </a:cxn>
                <a:cxn ang="0">
                  <a:pos x="920" y="0"/>
                </a:cxn>
                <a:cxn ang="0">
                  <a:pos x="1060" y="2"/>
                </a:cxn>
                <a:cxn ang="0">
                  <a:pos x="1210" y="6"/>
                </a:cxn>
                <a:cxn ang="0">
                  <a:pos x="1372" y="14"/>
                </a:cxn>
                <a:cxn ang="0">
                  <a:pos x="1544" y="24"/>
                </a:cxn>
                <a:cxn ang="0">
                  <a:pos x="1726" y="40"/>
                </a:cxn>
                <a:cxn ang="0">
                  <a:pos x="1920" y="58"/>
                </a:cxn>
                <a:cxn ang="0">
                  <a:pos x="2126" y="80"/>
                </a:cxn>
                <a:cxn ang="0">
                  <a:pos x="2342" y="106"/>
                </a:cxn>
                <a:cxn ang="0">
                  <a:pos x="2570" y="138"/>
                </a:cxn>
                <a:cxn ang="0">
                  <a:pos x="2808" y="174"/>
                </a:cxn>
                <a:cxn ang="0">
                  <a:pos x="3058" y="216"/>
                </a:cxn>
                <a:cxn ang="0">
                  <a:pos x="3320" y="266"/>
                </a:cxn>
                <a:cxn ang="0">
                  <a:pos x="3594" y="320"/>
                </a:cxn>
                <a:cxn ang="0">
                  <a:pos x="3880" y="380"/>
                </a:cxn>
                <a:cxn ang="0">
                  <a:pos x="4178" y="448"/>
                </a:cxn>
                <a:cxn ang="0">
                  <a:pos x="4488" y="522"/>
                </a:cxn>
                <a:cxn ang="0">
                  <a:pos x="4810" y="604"/>
                </a:cxn>
                <a:cxn ang="0">
                  <a:pos x="5144" y="694"/>
                </a:cxn>
              </a:cxnLst>
              <a:rect l="0" t="0" r="r" b="b"/>
              <a:pathLst>
                <a:path w="5144" h="694">
                  <a:moveTo>
                    <a:pt x="0" y="70"/>
                  </a:moveTo>
                  <a:lnTo>
                    <a:pt x="0" y="70"/>
                  </a:lnTo>
                  <a:lnTo>
                    <a:pt x="18" y="66"/>
                  </a:lnTo>
                  <a:lnTo>
                    <a:pt x="72" y="56"/>
                  </a:lnTo>
                  <a:lnTo>
                    <a:pt x="164" y="42"/>
                  </a:lnTo>
                  <a:lnTo>
                    <a:pt x="224" y="34"/>
                  </a:lnTo>
                  <a:lnTo>
                    <a:pt x="294" y="26"/>
                  </a:lnTo>
                  <a:lnTo>
                    <a:pt x="372" y="20"/>
                  </a:lnTo>
                  <a:lnTo>
                    <a:pt x="462" y="14"/>
                  </a:lnTo>
                  <a:lnTo>
                    <a:pt x="560" y="8"/>
                  </a:lnTo>
                  <a:lnTo>
                    <a:pt x="670" y="4"/>
                  </a:lnTo>
                  <a:lnTo>
                    <a:pt x="790" y="2"/>
                  </a:lnTo>
                  <a:lnTo>
                    <a:pt x="920" y="0"/>
                  </a:lnTo>
                  <a:lnTo>
                    <a:pt x="1060" y="2"/>
                  </a:lnTo>
                  <a:lnTo>
                    <a:pt x="1210" y="6"/>
                  </a:lnTo>
                  <a:lnTo>
                    <a:pt x="1372" y="14"/>
                  </a:lnTo>
                  <a:lnTo>
                    <a:pt x="1544" y="24"/>
                  </a:lnTo>
                  <a:lnTo>
                    <a:pt x="1726" y="40"/>
                  </a:lnTo>
                  <a:lnTo>
                    <a:pt x="1920" y="58"/>
                  </a:lnTo>
                  <a:lnTo>
                    <a:pt x="2126" y="80"/>
                  </a:lnTo>
                  <a:lnTo>
                    <a:pt x="2342" y="106"/>
                  </a:lnTo>
                  <a:lnTo>
                    <a:pt x="2570" y="138"/>
                  </a:lnTo>
                  <a:lnTo>
                    <a:pt x="2808" y="174"/>
                  </a:lnTo>
                  <a:lnTo>
                    <a:pt x="3058" y="216"/>
                  </a:lnTo>
                  <a:lnTo>
                    <a:pt x="3320" y="266"/>
                  </a:lnTo>
                  <a:lnTo>
                    <a:pt x="3594" y="320"/>
                  </a:lnTo>
                  <a:lnTo>
                    <a:pt x="3880" y="380"/>
                  </a:lnTo>
                  <a:lnTo>
                    <a:pt x="4178" y="448"/>
                  </a:lnTo>
                  <a:lnTo>
                    <a:pt x="4488" y="522"/>
                  </a:lnTo>
                  <a:lnTo>
                    <a:pt x="4810" y="604"/>
                  </a:lnTo>
                  <a:lnTo>
                    <a:pt x="5144" y="694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hidden">
            <a:xfrm>
              <a:off x="4156075" y="4316413"/>
              <a:ext cx="4940300" cy="927100"/>
            </a:xfrm>
            <a:custGeom>
              <a:avLst/>
              <a:gdLst/>
              <a:ahLst/>
              <a:cxnLst>
                <a:cxn ang="0">
                  <a:pos x="0" y="584"/>
                </a:cxn>
                <a:cxn ang="0">
                  <a:pos x="0" y="584"/>
                </a:cxn>
                <a:cxn ang="0">
                  <a:pos x="90" y="560"/>
                </a:cxn>
                <a:cxn ang="0">
                  <a:pos x="336" y="498"/>
                </a:cxn>
                <a:cxn ang="0">
                  <a:pos x="506" y="456"/>
                </a:cxn>
                <a:cxn ang="0">
                  <a:pos x="702" y="410"/>
                </a:cxn>
                <a:cxn ang="0">
                  <a:pos x="920" y="360"/>
                </a:cxn>
                <a:cxn ang="0">
                  <a:pos x="1154" y="306"/>
                </a:cxn>
                <a:cxn ang="0">
                  <a:pos x="1402" y="254"/>
                </a:cxn>
                <a:cxn ang="0">
                  <a:pos x="1656" y="202"/>
                </a:cxn>
                <a:cxn ang="0">
                  <a:pos x="1916" y="154"/>
                </a:cxn>
                <a:cxn ang="0">
                  <a:pos x="2174" y="108"/>
                </a:cxn>
                <a:cxn ang="0">
                  <a:pos x="2302" y="88"/>
                </a:cxn>
                <a:cxn ang="0">
                  <a:pos x="2426" y="68"/>
                </a:cxn>
                <a:cxn ang="0">
                  <a:pos x="2550" y="52"/>
                </a:cxn>
                <a:cxn ang="0">
                  <a:pos x="2670" y="36"/>
                </a:cxn>
                <a:cxn ang="0">
                  <a:pos x="2788" y="24"/>
                </a:cxn>
                <a:cxn ang="0">
                  <a:pos x="2900" y="14"/>
                </a:cxn>
                <a:cxn ang="0">
                  <a:pos x="3008" y="6"/>
                </a:cxn>
                <a:cxn ang="0">
                  <a:pos x="3112" y="0"/>
                </a:cxn>
              </a:cxnLst>
              <a:rect l="0" t="0" r="r" b="b"/>
              <a:pathLst>
                <a:path w="3112" h="584">
                  <a:moveTo>
                    <a:pt x="0" y="584"/>
                  </a:moveTo>
                  <a:lnTo>
                    <a:pt x="0" y="584"/>
                  </a:lnTo>
                  <a:lnTo>
                    <a:pt x="90" y="560"/>
                  </a:lnTo>
                  <a:lnTo>
                    <a:pt x="336" y="498"/>
                  </a:lnTo>
                  <a:lnTo>
                    <a:pt x="506" y="456"/>
                  </a:lnTo>
                  <a:lnTo>
                    <a:pt x="702" y="410"/>
                  </a:lnTo>
                  <a:lnTo>
                    <a:pt x="920" y="360"/>
                  </a:lnTo>
                  <a:lnTo>
                    <a:pt x="1154" y="306"/>
                  </a:lnTo>
                  <a:lnTo>
                    <a:pt x="1402" y="254"/>
                  </a:lnTo>
                  <a:lnTo>
                    <a:pt x="1656" y="202"/>
                  </a:lnTo>
                  <a:lnTo>
                    <a:pt x="1916" y="154"/>
                  </a:lnTo>
                  <a:lnTo>
                    <a:pt x="2174" y="108"/>
                  </a:lnTo>
                  <a:lnTo>
                    <a:pt x="2302" y="88"/>
                  </a:lnTo>
                  <a:lnTo>
                    <a:pt x="2426" y="68"/>
                  </a:lnTo>
                  <a:lnTo>
                    <a:pt x="2550" y="52"/>
                  </a:lnTo>
                  <a:lnTo>
                    <a:pt x="2670" y="36"/>
                  </a:lnTo>
                  <a:lnTo>
                    <a:pt x="2788" y="24"/>
                  </a:lnTo>
                  <a:lnTo>
                    <a:pt x="2900" y="14"/>
                  </a:lnTo>
                  <a:lnTo>
                    <a:pt x="3008" y="6"/>
                  </a:lnTo>
                  <a:lnTo>
                    <a:pt x="3112" y="0"/>
                  </a:lnTo>
                </a:path>
              </a:pathLst>
            </a:custGeom>
            <a:noFill/>
            <a:ln w="12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 useBgFill="1">
          <p:nvSpPr>
            <p:cNvPr id="21" name="Freeform 10"/>
            <p:cNvSpPr>
              <a:spLocks/>
            </p:cNvSpPr>
            <p:nvPr/>
          </p:nvSpPr>
          <p:spPr bwMode="hidden">
            <a:xfrm>
              <a:off x="-3905251" y="4294188"/>
              <a:ext cx="13027839" cy="1892300"/>
            </a:xfrm>
            <a:custGeom>
              <a:avLst/>
              <a:gdLst/>
              <a:ahLst/>
              <a:cxnLst>
                <a:cxn ang="0">
                  <a:pos x="8192" y="512"/>
                </a:cxn>
                <a:cxn ang="0">
                  <a:pos x="8040" y="570"/>
                </a:cxn>
                <a:cxn ang="0">
                  <a:pos x="7878" y="620"/>
                </a:cxn>
                <a:cxn ang="0">
                  <a:pos x="7706" y="666"/>
                </a:cxn>
                <a:cxn ang="0">
                  <a:pos x="7522" y="702"/>
                </a:cxn>
                <a:cxn ang="0">
                  <a:pos x="7322" y="730"/>
                </a:cxn>
                <a:cxn ang="0">
                  <a:pos x="7106" y="750"/>
                </a:cxn>
                <a:cxn ang="0">
                  <a:pos x="6872" y="762"/>
                </a:cxn>
                <a:cxn ang="0">
                  <a:pos x="6618" y="760"/>
                </a:cxn>
                <a:cxn ang="0">
                  <a:pos x="6342" y="750"/>
                </a:cxn>
                <a:cxn ang="0">
                  <a:pos x="6042" y="726"/>
                </a:cxn>
                <a:cxn ang="0">
                  <a:pos x="5716" y="690"/>
                </a:cxn>
                <a:cxn ang="0">
                  <a:pos x="5364" y="642"/>
                </a:cxn>
                <a:cxn ang="0">
                  <a:pos x="4982" y="578"/>
                </a:cxn>
                <a:cxn ang="0">
                  <a:pos x="4568" y="500"/>
                </a:cxn>
                <a:cxn ang="0">
                  <a:pos x="4122" y="406"/>
                </a:cxn>
                <a:cxn ang="0">
                  <a:pos x="3640" y="296"/>
                </a:cxn>
                <a:cxn ang="0">
                  <a:pos x="3396" y="240"/>
                </a:cxn>
                <a:cxn ang="0">
                  <a:pos x="2934" y="148"/>
                </a:cxn>
                <a:cxn ang="0">
                  <a:pos x="2512" y="82"/>
                </a:cxn>
                <a:cxn ang="0">
                  <a:pos x="2126" y="36"/>
                </a:cxn>
                <a:cxn ang="0">
                  <a:pos x="1776" y="10"/>
                </a:cxn>
                <a:cxn ang="0">
                  <a:pos x="1462" y="0"/>
                </a:cxn>
                <a:cxn ang="0">
                  <a:pos x="1182" y="4"/>
                </a:cxn>
                <a:cxn ang="0">
                  <a:pos x="934" y="20"/>
                </a:cxn>
                <a:cxn ang="0">
                  <a:pos x="716" y="44"/>
                </a:cxn>
                <a:cxn ang="0">
                  <a:pos x="530" y="74"/>
                </a:cxn>
                <a:cxn ang="0">
                  <a:pos x="374" y="108"/>
                </a:cxn>
                <a:cxn ang="0">
                  <a:pos x="248" y="144"/>
                </a:cxn>
                <a:cxn ang="0">
                  <a:pos x="148" y="176"/>
                </a:cxn>
                <a:cxn ang="0">
                  <a:pos x="48" y="216"/>
                </a:cxn>
                <a:cxn ang="0">
                  <a:pos x="0" y="240"/>
                </a:cxn>
                <a:cxn ang="0">
                  <a:pos x="8192" y="1192"/>
                </a:cxn>
                <a:cxn ang="0">
                  <a:pos x="8196" y="1186"/>
                </a:cxn>
                <a:cxn ang="0">
                  <a:pos x="8196" y="510"/>
                </a:cxn>
                <a:cxn ang="0">
                  <a:pos x="8192" y="512"/>
                </a:cxn>
              </a:cxnLst>
              <a:rect l="0" t="0" r="r" b="b"/>
              <a:pathLst>
                <a:path w="8196" h="1192">
                  <a:moveTo>
                    <a:pt x="8192" y="512"/>
                  </a:moveTo>
                  <a:lnTo>
                    <a:pt x="8192" y="512"/>
                  </a:lnTo>
                  <a:lnTo>
                    <a:pt x="8116" y="542"/>
                  </a:lnTo>
                  <a:lnTo>
                    <a:pt x="8040" y="570"/>
                  </a:lnTo>
                  <a:lnTo>
                    <a:pt x="7960" y="596"/>
                  </a:lnTo>
                  <a:lnTo>
                    <a:pt x="7878" y="620"/>
                  </a:lnTo>
                  <a:lnTo>
                    <a:pt x="7794" y="644"/>
                  </a:lnTo>
                  <a:lnTo>
                    <a:pt x="7706" y="666"/>
                  </a:lnTo>
                  <a:lnTo>
                    <a:pt x="7616" y="684"/>
                  </a:lnTo>
                  <a:lnTo>
                    <a:pt x="7522" y="702"/>
                  </a:lnTo>
                  <a:lnTo>
                    <a:pt x="7424" y="718"/>
                  </a:lnTo>
                  <a:lnTo>
                    <a:pt x="7322" y="730"/>
                  </a:lnTo>
                  <a:lnTo>
                    <a:pt x="7216" y="742"/>
                  </a:lnTo>
                  <a:lnTo>
                    <a:pt x="7106" y="750"/>
                  </a:lnTo>
                  <a:lnTo>
                    <a:pt x="6992" y="758"/>
                  </a:lnTo>
                  <a:lnTo>
                    <a:pt x="6872" y="762"/>
                  </a:lnTo>
                  <a:lnTo>
                    <a:pt x="6748" y="762"/>
                  </a:lnTo>
                  <a:lnTo>
                    <a:pt x="6618" y="760"/>
                  </a:lnTo>
                  <a:lnTo>
                    <a:pt x="6482" y="756"/>
                  </a:lnTo>
                  <a:lnTo>
                    <a:pt x="6342" y="750"/>
                  </a:lnTo>
                  <a:lnTo>
                    <a:pt x="6196" y="740"/>
                  </a:lnTo>
                  <a:lnTo>
                    <a:pt x="6042" y="726"/>
                  </a:lnTo>
                  <a:lnTo>
                    <a:pt x="5882" y="710"/>
                  </a:lnTo>
                  <a:lnTo>
                    <a:pt x="5716" y="690"/>
                  </a:lnTo>
                  <a:lnTo>
                    <a:pt x="5544" y="668"/>
                  </a:lnTo>
                  <a:lnTo>
                    <a:pt x="5364" y="642"/>
                  </a:lnTo>
                  <a:lnTo>
                    <a:pt x="5176" y="612"/>
                  </a:lnTo>
                  <a:lnTo>
                    <a:pt x="4982" y="578"/>
                  </a:lnTo>
                  <a:lnTo>
                    <a:pt x="4778" y="540"/>
                  </a:lnTo>
                  <a:lnTo>
                    <a:pt x="4568" y="500"/>
                  </a:lnTo>
                  <a:lnTo>
                    <a:pt x="4348" y="454"/>
                  </a:lnTo>
                  <a:lnTo>
                    <a:pt x="4122" y="406"/>
                  </a:lnTo>
                  <a:lnTo>
                    <a:pt x="3886" y="354"/>
                  </a:lnTo>
                  <a:lnTo>
                    <a:pt x="3640" y="296"/>
                  </a:lnTo>
                  <a:lnTo>
                    <a:pt x="3640" y="296"/>
                  </a:lnTo>
                  <a:lnTo>
                    <a:pt x="3396" y="240"/>
                  </a:lnTo>
                  <a:lnTo>
                    <a:pt x="3160" y="192"/>
                  </a:lnTo>
                  <a:lnTo>
                    <a:pt x="2934" y="148"/>
                  </a:lnTo>
                  <a:lnTo>
                    <a:pt x="2718" y="112"/>
                  </a:lnTo>
                  <a:lnTo>
                    <a:pt x="2512" y="82"/>
                  </a:lnTo>
                  <a:lnTo>
                    <a:pt x="2314" y="56"/>
                  </a:lnTo>
                  <a:lnTo>
                    <a:pt x="2126" y="36"/>
                  </a:lnTo>
                  <a:lnTo>
                    <a:pt x="1948" y="20"/>
                  </a:lnTo>
                  <a:lnTo>
                    <a:pt x="1776" y="10"/>
                  </a:lnTo>
                  <a:lnTo>
                    <a:pt x="1616" y="2"/>
                  </a:lnTo>
                  <a:lnTo>
                    <a:pt x="1462" y="0"/>
                  </a:lnTo>
                  <a:lnTo>
                    <a:pt x="1318" y="0"/>
                  </a:lnTo>
                  <a:lnTo>
                    <a:pt x="1182" y="4"/>
                  </a:lnTo>
                  <a:lnTo>
                    <a:pt x="1054" y="10"/>
                  </a:lnTo>
                  <a:lnTo>
                    <a:pt x="934" y="20"/>
                  </a:lnTo>
                  <a:lnTo>
                    <a:pt x="822" y="30"/>
                  </a:lnTo>
                  <a:lnTo>
                    <a:pt x="716" y="44"/>
                  </a:lnTo>
                  <a:lnTo>
                    <a:pt x="620" y="58"/>
                  </a:lnTo>
                  <a:lnTo>
                    <a:pt x="530" y="74"/>
                  </a:lnTo>
                  <a:lnTo>
                    <a:pt x="450" y="92"/>
                  </a:lnTo>
                  <a:lnTo>
                    <a:pt x="374" y="108"/>
                  </a:lnTo>
                  <a:lnTo>
                    <a:pt x="308" y="126"/>
                  </a:lnTo>
                  <a:lnTo>
                    <a:pt x="248" y="144"/>
                  </a:lnTo>
                  <a:lnTo>
                    <a:pt x="194" y="160"/>
                  </a:lnTo>
                  <a:lnTo>
                    <a:pt x="148" y="176"/>
                  </a:lnTo>
                  <a:lnTo>
                    <a:pt x="108" y="192"/>
                  </a:lnTo>
                  <a:lnTo>
                    <a:pt x="48" y="216"/>
                  </a:lnTo>
                  <a:lnTo>
                    <a:pt x="12" y="234"/>
                  </a:lnTo>
                  <a:lnTo>
                    <a:pt x="0" y="240"/>
                  </a:lnTo>
                  <a:lnTo>
                    <a:pt x="0" y="1192"/>
                  </a:lnTo>
                  <a:lnTo>
                    <a:pt x="8192" y="1192"/>
                  </a:lnTo>
                  <a:lnTo>
                    <a:pt x="8192" y="1192"/>
                  </a:lnTo>
                  <a:lnTo>
                    <a:pt x="8196" y="1186"/>
                  </a:lnTo>
                  <a:lnTo>
                    <a:pt x="8196" y="1186"/>
                  </a:lnTo>
                  <a:lnTo>
                    <a:pt x="8196" y="510"/>
                  </a:lnTo>
                  <a:lnTo>
                    <a:pt x="8196" y="510"/>
                  </a:lnTo>
                  <a:lnTo>
                    <a:pt x="8192" y="512"/>
                  </a:lnTo>
                  <a:lnTo>
                    <a:pt x="8192" y="512"/>
                  </a:lnTo>
                  <a:close/>
                </a:path>
              </a:pathLst>
            </a:custGeom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12527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63672" y="6250164"/>
            <a:ext cx="378669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17BBD89F-44F0-4B14-9217-61D12BDE118B}" type="datetimeFigureOut">
              <a:rPr lang="ru-RU" smtClean="0"/>
              <a:t>19.05.201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38" y="6250164"/>
            <a:ext cx="37866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91088" y="6250163"/>
            <a:ext cx="1161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A473DE3A-90AA-4424-B256-FCE25C0E6E91}" type="slidenum">
              <a:rPr lang="ru-RU" smtClean="0"/>
              <a:t>‹#›</a:t>
            </a:fld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2067" y="2675467"/>
            <a:ext cx="7408333" cy="34506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FFFF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76263" indent="-27432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855663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Symbol" pitchFamily="18" charset="2"/>
        <a:buChar char="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178308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0312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242316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743200" indent="-228600" algn="l" defTabSz="914400" rtl="0" eaLnBrk="1" latinLnBrk="0" hangingPunct="1">
        <a:spcBef>
          <a:spcPts val="384"/>
        </a:spcBef>
        <a:buClr>
          <a:schemeClr val="accent1"/>
        </a:buClr>
        <a:buFont typeface="Symbol" pitchFamily="18" charset="2"/>
        <a:buChar char="*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1" Type="http://schemas.openxmlformats.org/officeDocument/2006/relationships/image" Target="../media/image2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7summits.ru/media/full/0/3361.jpg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200" dirty="0" smtClean="0"/>
              <a:t>Формирование образовательных траекторий детей</a:t>
            </a:r>
            <a:endParaRPr lang="ru-RU" sz="32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40152" y="4421087"/>
            <a:ext cx="2880320" cy="808113"/>
          </a:xfrm>
        </p:spPr>
        <p:txBody>
          <a:bodyPr>
            <a:normAutofit/>
          </a:bodyPr>
          <a:lstStyle/>
          <a:p>
            <a:r>
              <a:rPr lang="en-US" dirty="0" smtClean="0"/>
              <a:t>Case</a:t>
            </a:r>
            <a:r>
              <a:rPr lang="ru-RU" dirty="0" smtClean="0"/>
              <a:t> </a:t>
            </a:r>
            <a:r>
              <a:rPr lang="en-US" dirty="0" smtClean="0"/>
              <a:t>study</a:t>
            </a:r>
          </a:p>
          <a:p>
            <a:r>
              <a:rPr lang="ru-RU" dirty="0" smtClean="0"/>
              <a:t>Семья Тимофеевых</a:t>
            </a:r>
            <a:endParaRPr lang="ru-RU" dirty="0"/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1043608" y="6165305"/>
            <a:ext cx="7488832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solidFill>
                  <a:schemeClr val="tx1"/>
                </a:solidFill>
              </a:rPr>
              <a:t>I </a:t>
            </a:r>
            <a:r>
              <a:rPr lang="ru-RU" sz="1000" dirty="0" smtClean="0">
                <a:solidFill>
                  <a:schemeClr val="tx1"/>
                </a:solidFill>
              </a:rPr>
              <a:t>Всероссийская </a:t>
            </a:r>
            <a:r>
              <a:rPr lang="ru-RU" sz="1000" dirty="0">
                <a:solidFill>
                  <a:schemeClr val="tx1"/>
                </a:solidFill>
              </a:rPr>
              <a:t>конференция </a:t>
            </a:r>
            <a:r>
              <a:rPr lang="ru-RU" sz="1000" dirty="0" smtClean="0">
                <a:solidFill>
                  <a:schemeClr val="tx1"/>
                </a:solidFill>
              </a:rPr>
              <a:t>«</a:t>
            </a:r>
            <a:r>
              <a:rPr lang="ru-RU" sz="1000" dirty="0">
                <a:solidFill>
                  <a:schemeClr val="tx1"/>
                </a:solidFill>
              </a:rPr>
              <a:t>Корпоративное и бизнес - образование: кадры для инновационной экономики»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Москва, 2011 г.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026" name="Picture 2" descr="logo_mak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47829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803437"/>
            <a:ext cx="3703802" cy="2777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9" y="1757433"/>
            <a:ext cx="2664296" cy="3552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930432"/>
          </a:xfrm>
        </p:spPr>
        <p:txBody>
          <a:bodyPr/>
          <a:lstStyle/>
          <a:p>
            <a:r>
              <a:rPr lang="ru-RU" dirty="0" smtClean="0"/>
              <a:t>Мои дети</a:t>
            </a:r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1520" y="6093296"/>
            <a:ext cx="864096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зновозрастные дети позволяют судить об образовательных траекториях нескольких поколений</a:t>
            </a:r>
            <a:endParaRPr lang="ru-RU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340768"/>
            <a:ext cx="3456384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5724128" y="2312876"/>
            <a:ext cx="3168352" cy="162018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 marL="274320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263" indent="-27432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663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308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312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316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3200" indent="-228600" algn="l" defTabSz="914400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/>
              <a:t>Тимофеева Александра (1995)</a:t>
            </a:r>
          </a:p>
          <a:p>
            <a:pPr marL="0" indent="0">
              <a:buFont typeface="Symbol" pitchFamily="18" charset="2"/>
              <a:buNone/>
            </a:pPr>
            <a:r>
              <a:rPr lang="ru-RU" sz="1200" dirty="0" smtClean="0"/>
              <a:t>ОТ не формировали сознательно, на этапе 1-4 </a:t>
            </a:r>
            <a:r>
              <a:rPr lang="ru-RU" sz="1200" dirty="0" err="1" smtClean="0"/>
              <a:t>кл</a:t>
            </a:r>
            <a:r>
              <a:rPr lang="ru-RU" sz="1200" dirty="0" smtClean="0"/>
              <a:t>. школа в регионе, на этапе 5-9 </a:t>
            </a:r>
            <a:r>
              <a:rPr lang="ru-RU" sz="1200" dirty="0" err="1" smtClean="0"/>
              <a:t>кл</a:t>
            </a:r>
            <a:r>
              <a:rPr lang="ru-RU" sz="1200" dirty="0" smtClean="0"/>
              <a:t>. сменили 9 школ и потерпели неудачу с переходом в лицей (8 </a:t>
            </a:r>
            <a:r>
              <a:rPr lang="ru-RU" sz="1200" dirty="0" err="1" smtClean="0"/>
              <a:t>кл</a:t>
            </a:r>
            <a:r>
              <a:rPr lang="ru-RU" sz="1200" dirty="0" smtClean="0"/>
              <a:t>.), доучивается школе № 1948 (10 </a:t>
            </a:r>
            <a:r>
              <a:rPr lang="ru-RU" sz="1200" dirty="0" err="1" smtClean="0"/>
              <a:t>кл</a:t>
            </a:r>
            <a:r>
              <a:rPr lang="ru-RU" sz="1200" dirty="0" smtClean="0"/>
              <a:t>). 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107504" y="1700808"/>
            <a:ext cx="2699792" cy="1584176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>
            <a:defPPr>
              <a:defRPr lang="ru-RU"/>
            </a:defPPr>
            <a:lvl1pPr marL="274320" indent="-27432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>
                <a:solidFill>
                  <a:schemeClr val="tx2"/>
                </a:solidFill>
              </a:defRPr>
            </a:lvl1pPr>
            <a:lvl2pPr marL="576263" indent="-27432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>
                <a:solidFill>
                  <a:schemeClr val="tx2"/>
                </a:solidFill>
              </a:defRPr>
            </a:lvl2pPr>
            <a:lvl3pPr marL="855663" indent="-22860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>
                <a:solidFill>
                  <a:schemeClr val="tx2"/>
                </a:solidFill>
              </a:defRPr>
            </a:lvl3pPr>
            <a:lvl4pPr marL="1143000" indent="-22860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>
                <a:solidFill>
                  <a:schemeClr val="tx2"/>
                </a:solidFill>
              </a:defRPr>
            </a:lvl4pPr>
            <a:lvl5pPr marL="1463040" indent="-22860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</a:defRPr>
            </a:lvl5pPr>
            <a:lvl6pPr marL="1783080" indent="-228600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>
                <a:solidFill>
                  <a:schemeClr val="tx2"/>
                </a:solidFill>
              </a:defRPr>
            </a:lvl6pPr>
            <a:lvl7pPr marL="2103120" indent="-228600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>
                <a:solidFill>
                  <a:schemeClr val="tx2"/>
                </a:solidFill>
              </a:defRPr>
            </a:lvl7pPr>
            <a:lvl8pPr marL="2423160" indent="-228600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>
                <a:solidFill>
                  <a:schemeClr val="tx2"/>
                </a:solidFill>
              </a:defRPr>
            </a:lvl8pPr>
            <a:lvl9pPr marL="2743200" indent="-228600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>
                <a:solidFill>
                  <a:schemeClr val="tx2"/>
                </a:solidFill>
              </a:defRPr>
            </a:lvl9pPr>
          </a:lstStyle>
          <a:p>
            <a:r>
              <a:rPr lang="ru-RU" dirty="0"/>
              <a:t>Тимофеев Кирилл (</a:t>
            </a:r>
            <a:r>
              <a:rPr lang="ru-RU" dirty="0" smtClean="0"/>
              <a:t>2002)</a:t>
            </a:r>
          </a:p>
          <a:p>
            <a:pPr marL="0" indent="0">
              <a:buNone/>
            </a:pPr>
            <a:r>
              <a:rPr lang="ru-RU" sz="1200" dirty="0" smtClean="0"/>
              <a:t>ОТ </a:t>
            </a:r>
            <a:r>
              <a:rPr lang="ru-RU" sz="1200" dirty="0"/>
              <a:t>формируем сознательно, на этапе 1-4 </a:t>
            </a:r>
            <a:r>
              <a:rPr lang="ru-RU" sz="1200" dirty="0" err="1"/>
              <a:t>кл</a:t>
            </a:r>
            <a:r>
              <a:rPr lang="ru-RU" sz="1200" dirty="0"/>
              <a:t>. ходили на подготовительные курсы в школе № 1948, по медицинским показаниям выбрали офтальмологическую школу № 1676</a:t>
            </a:r>
            <a:r>
              <a:rPr lang="ru-RU" sz="1200" dirty="0" smtClean="0"/>
              <a:t>.</a:t>
            </a:r>
            <a:endParaRPr lang="ru-RU" sz="1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15616" y="4653136"/>
            <a:ext cx="3240360" cy="1368152"/>
          </a:xfrm>
          <a:solidFill>
            <a:schemeClr val="bg1">
              <a:lumMod val="95000"/>
              <a:alpha val="80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r>
              <a:rPr lang="ru-RU" sz="2000" dirty="0"/>
              <a:t>Тимофеева Дарья (2007)</a:t>
            </a:r>
          </a:p>
          <a:p>
            <a:pPr marL="0" indent="0">
              <a:buNone/>
            </a:pPr>
            <a:r>
              <a:rPr lang="ru-RU" sz="1300" dirty="0"/>
              <a:t>Внимательно наблюдаем за наклонностями (поет, танцует), занимается в хореографическом кружке, посещает сад при школе № 1676</a:t>
            </a:r>
          </a:p>
        </p:txBody>
      </p:sp>
      <p:pic>
        <p:nvPicPr>
          <p:cNvPr id="10" name="Picture 2" descr="logo_mak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42074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10544" y="338328"/>
            <a:ext cx="7076256" cy="858424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Образование: что мы имеем?</a:t>
            </a: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51520" y="6093296"/>
            <a:ext cx="864096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временные семьи живут в «эпоху перемен» и у них нет возможности ждать разворота системы образования</a:t>
            </a:r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3851919" y="2780928"/>
            <a:ext cx="5452527" cy="3024336"/>
            <a:chOff x="323528" y="2420888"/>
            <a:chExt cx="5452527" cy="3024336"/>
          </a:xfrm>
        </p:grpSpPr>
        <p:sp>
          <p:nvSpPr>
            <p:cNvPr id="6" name="AutoShape 5"/>
            <p:cNvSpPr>
              <a:spLocks noChangeAspect="1" noChangeArrowheads="1"/>
            </p:cNvSpPr>
            <p:nvPr/>
          </p:nvSpPr>
          <p:spPr bwMode="auto">
            <a:xfrm>
              <a:off x="394560" y="2492896"/>
              <a:ext cx="5381495" cy="2936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7" name="Oval 6"/>
            <p:cNvSpPr>
              <a:spLocks noChangeArrowheads="1"/>
            </p:cNvSpPr>
            <p:nvPr/>
          </p:nvSpPr>
          <p:spPr bwMode="auto">
            <a:xfrm>
              <a:off x="1274170" y="2735183"/>
              <a:ext cx="3824006" cy="25661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  <a:alpha val="6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000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2699792" y="3573016"/>
              <a:ext cx="1047226" cy="83220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Поле общественных потребностей / компетенций образования</a:t>
              </a:r>
              <a:endParaRPr lang="ru-RU" sz="1000" dirty="0"/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3682344" y="3521034"/>
              <a:ext cx="1256003" cy="48878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распространение знаний и информации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2738952" y="2852936"/>
              <a:ext cx="1257116" cy="49159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формирование ценностей и установок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1587892" y="4254917"/>
              <a:ext cx="1327923" cy="63556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«креатив» - </a:t>
              </a:r>
            </a:p>
            <a:p>
              <a:pPr algn="ctr"/>
              <a:r>
                <a:rPr lang="ru-RU" sz="1000" b="1" dirty="0"/>
                <a:t>генерация идей;</a:t>
              </a:r>
            </a:p>
            <a:p>
              <a:pPr algn="ctr"/>
              <a:r>
                <a:rPr lang="ru-RU" sz="1000" b="1" dirty="0"/>
                <a:t>инновации – воплощение идей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1475656" y="3140968"/>
              <a:ext cx="1215585" cy="489489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генерация </a:t>
              </a:r>
            </a:p>
            <a:p>
              <a:pPr algn="ctr"/>
              <a:r>
                <a:rPr lang="ru-RU" sz="1000" b="1" dirty="0" err="1"/>
                <a:t>социо</a:t>
              </a:r>
              <a:r>
                <a:rPr lang="ru-RU" sz="1000" b="1" dirty="0"/>
                <a:t>-культурных проектов</a:t>
              </a: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274170" y="3814588"/>
              <a:ext cx="1047968" cy="38063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/>
                <a:t>воспроизводство стилей жизни</a:t>
              </a: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3664545" y="4401694"/>
              <a:ext cx="1169600" cy="292851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воспроизводство квалификаций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2779003" y="4797152"/>
              <a:ext cx="1360949" cy="44103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r>
                <a:rPr lang="ru-RU" sz="1000" b="1" dirty="0"/>
                <a:t>занятие молодежи -</a:t>
              </a:r>
            </a:p>
            <a:p>
              <a:pPr algn="ctr"/>
              <a:r>
                <a:rPr lang="ru-RU" sz="1000" b="1" dirty="0"/>
                <a:t>«камера хранения»</a:t>
              </a: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411760" y="3977458"/>
              <a:ext cx="436839" cy="1467766"/>
            </a:xfrm>
            <a:custGeom>
              <a:avLst/>
              <a:gdLst>
                <a:gd name="T0" fmla="*/ 0 w 750"/>
                <a:gd name="T1" fmla="*/ 2090 h 2700"/>
                <a:gd name="T2" fmla="*/ 424 w 750"/>
                <a:gd name="T3" fmla="*/ 1393 h 2700"/>
                <a:gd name="T4" fmla="*/ 565 w 750"/>
                <a:gd name="T5" fmla="*/ 557 h 2700"/>
                <a:gd name="T6" fmla="*/ 283 w 750"/>
                <a:gd name="T7" fmla="*/ 0 h 27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50"/>
                <a:gd name="T13" fmla="*/ 0 h 2700"/>
                <a:gd name="T14" fmla="*/ 750 w 750"/>
                <a:gd name="T15" fmla="*/ 2700 h 27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50" h="2700">
                  <a:moveTo>
                    <a:pt x="0" y="2700"/>
                  </a:moveTo>
                  <a:cubicBezTo>
                    <a:pt x="210" y="2415"/>
                    <a:pt x="420" y="2130"/>
                    <a:pt x="540" y="1800"/>
                  </a:cubicBezTo>
                  <a:cubicBezTo>
                    <a:pt x="660" y="1470"/>
                    <a:pt x="750" y="1020"/>
                    <a:pt x="720" y="720"/>
                  </a:cubicBezTo>
                  <a:cubicBezTo>
                    <a:pt x="690" y="420"/>
                    <a:pt x="525" y="210"/>
                    <a:pt x="360" y="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2006932" y="3716268"/>
              <a:ext cx="419039" cy="195936"/>
            </a:xfrm>
            <a:custGeom>
              <a:avLst/>
              <a:gdLst>
                <a:gd name="T0" fmla="*/ 565 w 720"/>
                <a:gd name="T1" fmla="*/ 279 h 360"/>
                <a:gd name="T2" fmla="*/ 424 w 720"/>
                <a:gd name="T3" fmla="*/ 140 h 360"/>
                <a:gd name="T4" fmla="*/ 0 w 720"/>
                <a:gd name="T5" fmla="*/ 0 h 360"/>
                <a:gd name="T6" fmla="*/ 0 60000 65536"/>
                <a:gd name="T7" fmla="*/ 0 60000 65536"/>
                <a:gd name="T8" fmla="*/ 0 60000 65536"/>
                <a:gd name="T9" fmla="*/ 0 w 720"/>
                <a:gd name="T10" fmla="*/ 0 h 360"/>
                <a:gd name="T11" fmla="*/ 720 w 720"/>
                <a:gd name="T12" fmla="*/ 360 h 36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0" h="360">
                  <a:moveTo>
                    <a:pt x="720" y="360"/>
                  </a:moveTo>
                  <a:cubicBezTo>
                    <a:pt x="690" y="300"/>
                    <a:pt x="660" y="240"/>
                    <a:pt x="540" y="180"/>
                  </a:cubicBezTo>
                  <a:cubicBezTo>
                    <a:pt x="420" y="120"/>
                    <a:pt x="210" y="60"/>
                    <a:pt x="0" y="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169596" y="3096857"/>
              <a:ext cx="1537464" cy="1304837"/>
            </a:xfrm>
            <a:custGeom>
              <a:avLst/>
              <a:gdLst>
                <a:gd name="T0" fmla="*/ 0 w 2643"/>
                <a:gd name="T1" fmla="*/ 1858 h 2400"/>
                <a:gd name="T2" fmla="*/ 1412 w 2643"/>
                <a:gd name="T3" fmla="*/ 1579 h 2400"/>
                <a:gd name="T4" fmla="*/ 1977 w 2643"/>
                <a:gd name="T5" fmla="*/ 604 h 2400"/>
                <a:gd name="T6" fmla="*/ 1991 w 2643"/>
                <a:gd name="T7" fmla="*/ 0 h 24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43"/>
                <a:gd name="T13" fmla="*/ 0 h 2400"/>
                <a:gd name="T14" fmla="*/ 2643 w 2643"/>
                <a:gd name="T15" fmla="*/ 2400 h 24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43" h="2400">
                  <a:moveTo>
                    <a:pt x="0" y="2400"/>
                  </a:moveTo>
                  <a:cubicBezTo>
                    <a:pt x="690" y="2355"/>
                    <a:pt x="1380" y="2310"/>
                    <a:pt x="1800" y="2040"/>
                  </a:cubicBezTo>
                  <a:cubicBezTo>
                    <a:pt x="2220" y="1770"/>
                    <a:pt x="2397" y="1120"/>
                    <a:pt x="2520" y="780"/>
                  </a:cubicBezTo>
                  <a:cubicBezTo>
                    <a:pt x="2643" y="440"/>
                    <a:pt x="2591" y="220"/>
                    <a:pt x="2539" y="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2216080" y="2639673"/>
              <a:ext cx="419039" cy="391872"/>
            </a:xfrm>
            <a:custGeom>
              <a:avLst/>
              <a:gdLst>
                <a:gd name="T0" fmla="*/ 565 w 720"/>
                <a:gd name="T1" fmla="*/ 558 h 720"/>
                <a:gd name="T2" fmla="*/ 424 w 720"/>
                <a:gd name="T3" fmla="*/ 279 h 720"/>
                <a:gd name="T4" fmla="*/ 0 w 720"/>
                <a:gd name="T5" fmla="*/ 0 h 720"/>
                <a:gd name="T6" fmla="*/ 0 60000 65536"/>
                <a:gd name="T7" fmla="*/ 0 60000 65536"/>
                <a:gd name="T8" fmla="*/ 0 60000 65536"/>
                <a:gd name="T9" fmla="*/ 0 w 720"/>
                <a:gd name="T10" fmla="*/ 0 h 720"/>
                <a:gd name="T11" fmla="*/ 720 w 720"/>
                <a:gd name="T12" fmla="*/ 720 h 7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20" h="720">
                  <a:moveTo>
                    <a:pt x="720" y="720"/>
                  </a:moveTo>
                  <a:cubicBezTo>
                    <a:pt x="690" y="600"/>
                    <a:pt x="660" y="480"/>
                    <a:pt x="540" y="360"/>
                  </a:cubicBezTo>
                  <a:cubicBezTo>
                    <a:pt x="420" y="240"/>
                    <a:pt x="90" y="60"/>
                    <a:pt x="0" y="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3664545" y="3031545"/>
              <a:ext cx="855136" cy="978276"/>
            </a:xfrm>
            <a:custGeom>
              <a:avLst/>
              <a:gdLst>
                <a:gd name="T0" fmla="*/ 1153 w 1470"/>
                <a:gd name="T1" fmla="*/ 0 h 1800"/>
                <a:gd name="T2" fmla="*/ 165 w 1470"/>
                <a:gd name="T3" fmla="*/ 557 h 1800"/>
                <a:gd name="T4" fmla="*/ 165 w 1470"/>
                <a:gd name="T5" fmla="*/ 1393 h 1800"/>
                <a:gd name="T6" fmla="*/ 0 60000 65536"/>
                <a:gd name="T7" fmla="*/ 0 60000 65536"/>
                <a:gd name="T8" fmla="*/ 0 60000 65536"/>
                <a:gd name="T9" fmla="*/ 0 w 1470"/>
                <a:gd name="T10" fmla="*/ 0 h 1800"/>
                <a:gd name="T11" fmla="*/ 1470 w 1470"/>
                <a:gd name="T12" fmla="*/ 1800 h 18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70" h="1800">
                  <a:moveTo>
                    <a:pt x="1470" y="0"/>
                  </a:moveTo>
                  <a:cubicBezTo>
                    <a:pt x="945" y="210"/>
                    <a:pt x="420" y="420"/>
                    <a:pt x="210" y="720"/>
                  </a:cubicBezTo>
                  <a:cubicBezTo>
                    <a:pt x="0" y="1020"/>
                    <a:pt x="105" y="1410"/>
                    <a:pt x="210" y="180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3786919" y="4009821"/>
              <a:ext cx="104574" cy="293553"/>
            </a:xfrm>
            <a:custGeom>
              <a:avLst/>
              <a:gdLst>
                <a:gd name="T0" fmla="*/ 0 w 180"/>
                <a:gd name="T1" fmla="*/ 0 h 540"/>
                <a:gd name="T2" fmla="*/ 74 w 180"/>
                <a:gd name="T3" fmla="*/ 250 h 540"/>
                <a:gd name="T4" fmla="*/ 141 w 180"/>
                <a:gd name="T5" fmla="*/ 418 h 540"/>
                <a:gd name="T6" fmla="*/ 0 60000 65536"/>
                <a:gd name="T7" fmla="*/ 0 60000 65536"/>
                <a:gd name="T8" fmla="*/ 0 60000 65536"/>
                <a:gd name="T9" fmla="*/ 0 w 180"/>
                <a:gd name="T10" fmla="*/ 0 h 540"/>
                <a:gd name="T11" fmla="*/ 180 w 180"/>
                <a:gd name="T12" fmla="*/ 540 h 54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0" h="540">
                  <a:moveTo>
                    <a:pt x="0" y="0"/>
                  </a:moveTo>
                  <a:cubicBezTo>
                    <a:pt x="32" y="116"/>
                    <a:pt x="65" y="233"/>
                    <a:pt x="95" y="323"/>
                  </a:cubicBezTo>
                  <a:cubicBezTo>
                    <a:pt x="125" y="413"/>
                    <a:pt x="152" y="476"/>
                    <a:pt x="180" y="54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2530545" y="2639673"/>
              <a:ext cx="1465523" cy="816050"/>
            </a:xfrm>
            <a:custGeom>
              <a:avLst/>
              <a:gdLst>
                <a:gd name="T0" fmla="*/ 0 w 2520"/>
                <a:gd name="T1" fmla="*/ 0 h 1500"/>
                <a:gd name="T2" fmla="*/ 423 w 2520"/>
                <a:gd name="T3" fmla="*/ 837 h 1500"/>
                <a:gd name="T4" fmla="*/ 988 w 2520"/>
                <a:gd name="T5" fmla="*/ 1116 h 1500"/>
                <a:gd name="T6" fmla="*/ 1976 w 2520"/>
                <a:gd name="T7" fmla="*/ 1116 h 15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20"/>
                <a:gd name="T13" fmla="*/ 0 h 1500"/>
                <a:gd name="T14" fmla="*/ 2520 w 2520"/>
                <a:gd name="T15" fmla="*/ 1500 h 15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20" h="1500">
                  <a:moveTo>
                    <a:pt x="0" y="0"/>
                  </a:moveTo>
                  <a:cubicBezTo>
                    <a:pt x="165" y="420"/>
                    <a:pt x="330" y="840"/>
                    <a:pt x="540" y="1080"/>
                  </a:cubicBezTo>
                  <a:cubicBezTo>
                    <a:pt x="750" y="1320"/>
                    <a:pt x="930" y="1380"/>
                    <a:pt x="1260" y="1440"/>
                  </a:cubicBezTo>
                  <a:cubicBezTo>
                    <a:pt x="1590" y="1500"/>
                    <a:pt x="2055" y="1470"/>
                    <a:pt x="2520" y="144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996068" y="3226779"/>
              <a:ext cx="942652" cy="195936"/>
            </a:xfrm>
            <a:custGeom>
              <a:avLst/>
              <a:gdLst>
                <a:gd name="T0" fmla="*/ 0 w 1620"/>
                <a:gd name="T1" fmla="*/ 279 h 360"/>
                <a:gd name="T2" fmla="*/ 706 w 1620"/>
                <a:gd name="T3" fmla="*/ 140 h 360"/>
                <a:gd name="T4" fmla="*/ 1271 w 1620"/>
                <a:gd name="T5" fmla="*/ 0 h 360"/>
                <a:gd name="T6" fmla="*/ 0 60000 65536"/>
                <a:gd name="T7" fmla="*/ 0 60000 65536"/>
                <a:gd name="T8" fmla="*/ 0 60000 65536"/>
                <a:gd name="T9" fmla="*/ 0 w 1620"/>
                <a:gd name="T10" fmla="*/ 0 h 360"/>
                <a:gd name="T11" fmla="*/ 1620 w 1620"/>
                <a:gd name="T12" fmla="*/ 360 h 36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20" h="360">
                  <a:moveTo>
                    <a:pt x="0" y="360"/>
                  </a:moveTo>
                  <a:cubicBezTo>
                    <a:pt x="315" y="300"/>
                    <a:pt x="630" y="240"/>
                    <a:pt x="900" y="180"/>
                  </a:cubicBezTo>
                  <a:cubicBezTo>
                    <a:pt x="1170" y="120"/>
                    <a:pt x="1500" y="30"/>
                    <a:pt x="1620" y="0"/>
                  </a:cubicBezTo>
                </a:path>
              </a:pathLst>
            </a:custGeom>
            <a:noFill/>
            <a:ln w="9525">
              <a:solidFill>
                <a:srgbClr val="000000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4" name="AutoShape 23"/>
            <p:cNvSpPr>
              <a:spLocks noChangeArrowheads="1"/>
            </p:cNvSpPr>
            <p:nvPr/>
          </p:nvSpPr>
          <p:spPr bwMode="auto">
            <a:xfrm rot="7865930">
              <a:off x="3717289" y="2759420"/>
              <a:ext cx="390468" cy="104574"/>
            </a:xfrm>
            <a:prstGeom prst="rightArrow">
              <a:avLst>
                <a:gd name="adj1" fmla="val 50000"/>
                <a:gd name="adj2" fmla="val 98582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5" name="AutoShape 24"/>
            <p:cNvSpPr>
              <a:spLocks noChangeArrowheads="1"/>
            </p:cNvSpPr>
            <p:nvPr/>
          </p:nvSpPr>
          <p:spPr bwMode="auto">
            <a:xfrm rot="19947982">
              <a:off x="1274170" y="4548470"/>
              <a:ext cx="418297" cy="97617"/>
            </a:xfrm>
            <a:prstGeom prst="rightArrow">
              <a:avLst>
                <a:gd name="adj1" fmla="val 50000"/>
                <a:gd name="adj2" fmla="val 101439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6" name="AutoShape 25"/>
            <p:cNvSpPr>
              <a:spLocks noChangeArrowheads="1"/>
            </p:cNvSpPr>
            <p:nvPr/>
          </p:nvSpPr>
          <p:spPr bwMode="auto">
            <a:xfrm rot="19872978">
              <a:off x="2070067" y="5035352"/>
              <a:ext cx="416072" cy="96915"/>
            </a:xfrm>
            <a:prstGeom prst="rightArrow">
              <a:avLst>
                <a:gd name="adj1" fmla="val 50000"/>
                <a:gd name="adj2" fmla="val 101630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7" name="AutoShape 26"/>
            <p:cNvSpPr>
              <a:spLocks noChangeArrowheads="1"/>
            </p:cNvSpPr>
            <p:nvPr/>
          </p:nvSpPr>
          <p:spPr bwMode="auto">
            <a:xfrm rot="7946312">
              <a:off x="3926438" y="2981322"/>
              <a:ext cx="390468" cy="104574"/>
            </a:xfrm>
            <a:prstGeom prst="rightArrow">
              <a:avLst>
                <a:gd name="adj1" fmla="val 50000"/>
                <a:gd name="adj2" fmla="val 98582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8" name="AutoShape 27"/>
            <p:cNvSpPr>
              <a:spLocks noChangeArrowheads="1"/>
            </p:cNvSpPr>
            <p:nvPr/>
          </p:nvSpPr>
          <p:spPr bwMode="auto">
            <a:xfrm>
              <a:off x="1331640" y="3177619"/>
              <a:ext cx="418297" cy="98319"/>
            </a:xfrm>
            <a:prstGeom prst="rightArrow">
              <a:avLst>
                <a:gd name="adj1" fmla="val 50000"/>
                <a:gd name="adj2" fmla="val 100714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29" name="AutoShape 28"/>
            <p:cNvSpPr>
              <a:spLocks noChangeArrowheads="1"/>
            </p:cNvSpPr>
            <p:nvPr/>
          </p:nvSpPr>
          <p:spPr bwMode="auto">
            <a:xfrm>
              <a:off x="2006932" y="2982385"/>
              <a:ext cx="418297" cy="97617"/>
            </a:xfrm>
            <a:prstGeom prst="rightArrow">
              <a:avLst>
                <a:gd name="adj1" fmla="val 50000"/>
                <a:gd name="adj2" fmla="val 101439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30" name="AutoShape 29"/>
            <p:cNvSpPr>
              <a:spLocks noChangeArrowheads="1"/>
            </p:cNvSpPr>
            <p:nvPr/>
          </p:nvSpPr>
          <p:spPr bwMode="auto">
            <a:xfrm rot="10995405">
              <a:off x="4729571" y="3765428"/>
              <a:ext cx="418297" cy="97617"/>
            </a:xfrm>
            <a:prstGeom prst="rightArrow">
              <a:avLst>
                <a:gd name="adj1" fmla="val 50000"/>
                <a:gd name="adj2" fmla="val 101439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31" name="AutoShape 30"/>
            <p:cNvSpPr>
              <a:spLocks noChangeArrowheads="1"/>
            </p:cNvSpPr>
            <p:nvPr/>
          </p:nvSpPr>
          <p:spPr bwMode="auto">
            <a:xfrm rot="10994215">
              <a:off x="4729571" y="4040453"/>
              <a:ext cx="417555" cy="96915"/>
            </a:xfrm>
            <a:prstGeom prst="rightArrow">
              <a:avLst>
                <a:gd name="adj1" fmla="val 50000"/>
                <a:gd name="adj2" fmla="val 101993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32" name="AutoShape 31"/>
            <p:cNvSpPr>
              <a:spLocks noChangeArrowheads="1"/>
            </p:cNvSpPr>
            <p:nvPr/>
          </p:nvSpPr>
          <p:spPr bwMode="auto">
            <a:xfrm rot="7709203">
              <a:off x="3098877" y="2688172"/>
              <a:ext cx="389766" cy="103833"/>
            </a:xfrm>
            <a:prstGeom prst="rightArrow">
              <a:avLst>
                <a:gd name="adj1" fmla="val 50000"/>
                <a:gd name="adj2" fmla="val 99107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33" name="AutoShape 32"/>
            <p:cNvSpPr>
              <a:spLocks noChangeArrowheads="1"/>
            </p:cNvSpPr>
            <p:nvPr/>
          </p:nvSpPr>
          <p:spPr bwMode="auto">
            <a:xfrm>
              <a:off x="1169596" y="3569492"/>
              <a:ext cx="418297" cy="96915"/>
            </a:xfrm>
            <a:prstGeom prst="rightArrow">
              <a:avLst>
                <a:gd name="adj1" fmla="val 50000"/>
                <a:gd name="adj2" fmla="val 102174"/>
              </a:avLst>
            </a:prstGeom>
            <a:solidFill>
              <a:srgbClr val="FFFFFF"/>
            </a:solidFill>
            <a:ln w="15875">
              <a:solidFill>
                <a:srgbClr val="C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/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3491880" y="2420888"/>
              <a:ext cx="1360207" cy="19593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ru-RU" sz="1000" b="1" dirty="0"/>
                <a:t>СМИ, кино, реклама</a:t>
              </a:r>
              <a:endParaRPr lang="ru-RU" sz="1000" dirty="0"/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4860033" y="3861048"/>
              <a:ext cx="732761" cy="19663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ru-RU" sz="1000" b="1" dirty="0"/>
                <a:t>Интернет</a:t>
              </a:r>
              <a:endParaRPr lang="ru-RU" sz="1000" dirty="0"/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>
              <a:off x="959706" y="4939641"/>
              <a:ext cx="628187" cy="19663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ru-RU" sz="1000" b="1"/>
                <a:t>Бизнес</a:t>
              </a:r>
              <a:endParaRPr lang="ru-RU" sz="1000"/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323528" y="2931241"/>
              <a:ext cx="1194075" cy="56976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ru-RU" sz="1000" b="1" dirty="0"/>
                <a:t>Социальные сети,</a:t>
              </a:r>
            </a:p>
            <a:p>
              <a:r>
                <a:rPr lang="ru-RU" sz="1000" b="1" dirty="0"/>
                <a:t>неформальные сообщества</a:t>
              </a:r>
              <a:endParaRPr lang="ru-RU" sz="1000" dirty="0"/>
            </a:p>
          </p:txBody>
        </p:sp>
      </p:grpSp>
      <p:sp>
        <p:nvSpPr>
          <p:cNvPr id="38" name="Заголовок 36"/>
          <p:cNvSpPr txBox="1">
            <a:spLocks/>
          </p:cNvSpPr>
          <p:nvPr/>
        </p:nvSpPr>
        <p:spPr>
          <a:xfrm>
            <a:off x="3779912" y="2420888"/>
            <a:ext cx="5112568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Конкуренция образования с другими сферами деятельности</a:t>
            </a:r>
          </a:p>
          <a:p>
            <a:pPr algn="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за общественную значимость и ресурс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923928" y="5805264"/>
            <a:ext cx="5040560" cy="2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r">
              <a:spcBef>
                <a:spcPct val="0"/>
              </a:spcBef>
            </a:pPr>
            <a:r>
              <a:rPr lang="ru-RU" sz="800" b="1" dirty="0">
                <a:latin typeface="+mj-lt"/>
                <a:ea typeface="+mj-ea"/>
                <a:cs typeface="+mj-cs"/>
              </a:rPr>
              <a:t>Будущее высшей школы России: тенденции и </a:t>
            </a:r>
            <a:r>
              <a:rPr lang="ru-RU" sz="800" b="1" dirty="0" smtClean="0">
                <a:latin typeface="+mj-lt"/>
                <a:ea typeface="+mj-ea"/>
                <a:cs typeface="+mj-cs"/>
              </a:rPr>
              <a:t>сценарии, Ефимов В.С., Лаптева А.В. СФУ, 2010</a:t>
            </a:r>
            <a:endParaRPr lang="ru-RU" sz="800" b="1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51520" y="1634024"/>
            <a:ext cx="43204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000" dirty="0"/>
              <a:t>Первый урок– это урок бессистемности.  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/>
              <a:t>Второй урок – людей можно и нужно делить на </a:t>
            </a:r>
            <a:r>
              <a:rPr lang="ru-RU" sz="1000" dirty="0" smtClean="0"/>
              <a:t>группы. </a:t>
            </a:r>
            <a:r>
              <a:rPr lang="ru-RU" sz="1000" dirty="0"/>
              <a:t> 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/>
              <a:t>Третий урок – урок безразличного отношения к </a:t>
            </a:r>
            <a:r>
              <a:rPr lang="ru-RU" sz="1000" dirty="0" smtClean="0"/>
              <a:t>делу.</a:t>
            </a:r>
            <a:r>
              <a:rPr lang="ru-RU" sz="1000" dirty="0"/>
              <a:t> 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/>
              <a:t>Четвертый урок – это урок эмоциональной </a:t>
            </a:r>
            <a:r>
              <a:rPr lang="ru-RU" sz="1000" dirty="0" smtClean="0"/>
              <a:t>зависимости.</a:t>
            </a:r>
            <a:r>
              <a:rPr lang="ru-RU" sz="1000" dirty="0"/>
              <a:t> 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/>
              <a:t>Пятый урок – урок интеллектуальной зависимости. </a:t>
            </a:r>
            <a:endParaRPr lang="ru-RU" sz="1000" dirty="0" smtClean="0"/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Шестой урок - учит </a:t>
            </a:r>
            <a:r>
              <a:rPr lang="ru-RU" sz="1000" dirty="0"/>
              <a:t>детей тому, что их представление о себе определяется мнением окружающих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Седьмой </a:t>
            </a:r>
            <a:r>
              <a:rPr lang="ru-RU" sz="1000" dirty="0"/>
              <a:t>урок – полная подконтрольность</a:t>
            </a:r>
            <a:r>
              <a:rPr lang="ru-RU" sz="1000" dirty="0" smtClean="0"/>
              <a:t>.</a:t>
            </a:r>
            <a:endParaRPr lang="ru-RU" sz="1000" dirty="0"/>
          </a:p>
        </p:txBody>
      </p:sp>
      <p:sp>
        <p:nvSpPr>
          <p:cNvPr id="42" name="Заголовок 36"/>
          <p:cNvSpPr txBox="1">
            <a:spLocks/>
          </p:cNvSpPr>
          <p:nvPr/>
        </p:nvSpPr>
        <p:spPr>
          <a:xfrm>
            <a:off x="323528" y="1340768"/>
            <a:ext cx="2016224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7 уроков школ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79512" y="2892276"/>
            <a:ext cx="3888432" cy="2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800" b="1" dirty="0" smtClean="0">
                <a:latin typeface="+mj-lt"/>
                <a:ea typeface="+mj-ea"/>
                <a:cs typeface="+mj-cs"/>
              </a:rPr>
              <a:t>Дж. </a:t>
            </a:r>
            <a:r>
              <a:rPr lang="ru-RU" sz="800" b="1" dirty="0" err="1" smtClean="0">
                <a:latin typeface="+mj-lt"/>
                <a:ea typeface="+mj-ea"/>
                <a:cs typeface="+mj-cs"/>
              </a:rPr>
              <a:t>Гатто</a:t>
            </a:r>
            <a:r>
              <a:rPr lang="ru-RU" sz="800" b="1" dirty="0" smtClean="0">
                <a:latin typeface="+mj-lt"/>
                <a:ea typeface="+mj-ea"/>
                <a:cs typeface="+mj-cs"/>
              </a:rPr>
              <a:t> Фабрика марионеток</a:t>
            </a:r>
            <a:endParaRPr lang="ru-RU" sz="800" b="1" dirty="0">
              <a:latin typeface="+mj-lt"/>
              <a:ea typeface="+mj-ea"/>
              <a:cs typeface="+mj-cs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323528" y="3258140"/>
            <a:ext cx="3312889" cy="2690560"/>
            <a:chOff x="3635375" y="400038"/>
            <a:chExt cx="5447647" cy="3699953"/>
          </a:xfrm>
        </p:grpSpPr>
        <p:pic>
          <p:nvPicPr>
            <p:cNvPr id="12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2000" contrast="1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58" t="29080" r="23093" b="19160"/>
            <a:stretch>
              <a:fillRect/>
            </a:stretch>
          </p:blipFill>
          <p:spPr bwMode="auto">
            <a:xfrm>
              <a:off x="3635375" y="416991"/>
              <a:ext cx="4968875" cy="3683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3" name="TextBox 7"/>
            <p:cNvSpPr txBox="1">
              <a:spLocks noChangeArrowheads="1"/>
            </p:cNvSpPr>
            <p:nvPr/>
          </p:nvSpPr>
          <p:spPr bwMode="auto">
            <a:xfrm>
              <a:off x="7308850" y="400038"/>
              <a:ext cx="1774172" cy="4655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800" b="0" dirty="0"/>
                <a:t>Не рутинные коммуникативные</a:t>
              </a:r>
              <a:endParaRPr lang="en-US" sz="800" b="0" dirty="0"/>
            </a:p>
          </p:txBody>
        </p:sp>
        <p:sp>
          <p:nvSpPr>
            <p:cNvPr id="124" name="TextBox 8"/>
            <p:cNvSpPr txBox="1">
              <a:spLocks noChangeArrowheads="1"/>
            </p:cNvSpPr>
            <p:nvPr/>
          </p:nvSpPr>
          <p:spPr bwMode="auto">
            <a:xfrm>
              <a:off x="7308850" y="991666"/>
              <a:ext cx="1584325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800" b="0"/>
                <a:t>Не рутинные аналитические</a:t>
              </a:r>
              <a:endParaRPr lang="en-US" sz="800" b="0"/>
            </a:p>
          </p:txBody>
        </p:sp>
        <p:sp>
          <p:nvSpPr>
            <p:cNvPr id="125" name="TextBox 9"/>
            <p:cNvSpPr txBox="1">
              <a:spLocks noChangeArrowheads="1"/>
            </p:cNvSpPr>
            <p:nvPr/>
          </p:nvSpPr>
          <p:spPr bwMode="auto">
            <a:xfrm>
              <a:off x="7308850" y="2864916"/>
              <a:ext cx="1584325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800" b="0"/>
                <a:t>Рутинные умственные</a:t>
              </a:r>
              <a:endParaRPr lang="en-US" sz="800" b="0"/>
            </a:p>
          </p:txBody>
        </p:sp>
        <p:sp>
          <p:nvSpPr>
            <p:cNvPr id="126" name="TextBox 10"/>
            <p:cNvSpPr txBox="1">
              <a:spLocks noChangeArrowheads="1"/>
            </p:cNvSpPr>
            <p:nvPr/>
          </p:nvSpPr>
          <p:spPr bwMode="auto">
            <a:xfrm>
              <a:off x="7308850" y="2504554"/>
              <a:ext cx="1584325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800" b="0"/>
                <a:t>Рутинные ручные</a:t>
              </a:r>
              <a:endParaRPr lang="en-US" sz="800" b="0"/>
            </a:p>
          </p:txBody>
        </p:sp>
        <p:sp>
          <p:nvSpPr>
            <p:cNvPr id="127" name="TextBox 11"/>
            <p:cNvSpPr txBox="1">
              <a:spLocks noChangeArrowheads="1"/>
            </p:cNvSpPr>
            <p:nvPr/>
          </p:nvSpPr>
          <p:spPr bwMode="auto">
            <a:xfrm>
              <a:off x="7308850" y="3296716"/>
              <a:ext cx="1655763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sz="800" b="0"/>
                <a:t>Не рутинные ручные</a:t>
              </a:r>
              <a:endParaRPr lang="en-US" sz="800" b="0"/>
            </a:p>
          </p:txBody>
        </p:sp>
      </p:grpSp>
      <p:sp>
        <p:nvSpPr>
          <p:cNvPr id="128" name="TextBox 12"/>
          <p:cNvSpPr txBox="1">
            <a:spLocks noChangeArrowheads="1"/>
          </p:cNvSpPr>
          <p:nvPr/>
        </p:nvSpPr>
        <p:spPr bwMode="auto">
          <a:xfrm>
            <a:off x="179512" y="2996952"/>
            <a:ext cx="4896544" cy="3594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buNone/>
              <a:defRPr sz="1200" b="1"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dirty="0"/>
              <a:t>Навыки, востребованные на рабочем месте </a:t>
            </a:r>
            <a:endParaRPr lang="ru-RU" dirty="0" smtClean="0"/>
          </a:p>
        </p:txBody>
      </p:sp>
      <p:sp>
        <p:nvSpPr>
          <p:cNvPr id="129" name="TextBox 13"/>
          <p:cNvSpPr txBox="1">
            <a:spLocks noChangeArrowheads="1"/>
          </p:cNvSpPr>
          <p:nvPr/>
        </p:nvSpPr>
        <p:spPr bwMode="auto">
          <a:xfrm>
            <a:off x="395536" y="5949280"/>
            <a:ext cx="1656184" cy="10772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800" b="1"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Источник данных: ОЭСР</a:t>
            </a:r>
            <a:endParaRPr lang="en-US" dirty="0"/>
          </a:p>
        </p:txBody>
      </p:sp>
      <p:pic>
        <p:nvPicPr>
          <p:cNvPr id="51" name="Picture 2" descr="logo_mak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0220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63688" y="410336"/>
            <a:ext cx="6923112" cy="858424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Образование: на что </a:t>
            </a:r>
            <a:r>
              <a:rPr lang="ru-RU" dirty="0" smtClean="0"/>
              <a:t>надеяться?</a:t>
            </a: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51520" y="6093296"/>
            <a:ext cx="864096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ачество поступающих на педагогические факультеты не оставляет надежд родителям (</a:t>
            </a:r>
            <a:r>
              <a:rPr lang="en-US" dirty="0" smtClean="0"/>
              <a:t>DIY </a:t>
            </a:r>
            <a:r>
              <a:rPr lang="ru-RU" dirty="0" smtClean="0"/>
              <a:t>или ЖКХ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38" name="Заголовок 36"/>
          <p:cNvSpPr txBox="1">
            <a:spLocks/>
          </p:cNvSpPr>
          <p:nvPr/>
        </p:nvSpPr>
        <p:spPr>
          <a:xfrm>
            <a:off x="3851920" y="2132856"/>
            <a:ext cx="5112568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Качество будущего преподавательского состава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923928" y="5805264"/>
            <a:ext cx="5040560" cy="2160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r">
              <a:spcBef>
                <a:spcPct val="0"/>
              </a:spcBef>
            </a:pPr>
            <a:r>
              <a:rPr lang="ru-RU" sz="800" b="1" dirty="0">
                <a:latin typeface="+mj-lt"/>
                <a:ea typeface="+mj-ea"/>
                <a:cs typeface="+mj-cs"/>
              </a:rPr>
              <a:t>Образование в </a:t>
            </a:r>
            <a:r>
              <a:rPr lang="ru-RU" sz="800" b="1" dirty="0" smtClean="0">
                <a:latin typeface="+mj-lt"/>
                <a:ea typeface="+mj-ea"/>
                <a:cs typeface="+mj-cs"/>
              </a:rPr>
              <a:t>России: вызовы </a:t>
            </a:r>
            <a:r>
              <a:rPr lang="ru-RU" sz="800" b="1" dirty="0">
                <a:latin typeface="+mj-lt"/>
                <a:ea typeface="+mj-ea"/>
                <a:cs typeface="+mj-cs"/>
              </a:rPr>
              <a:t>для </a:t>
            </a:r>
            <a:r>
              <a:rPr lang="ru-RU" sz="800" b="1" dirty="0" smtClean="0">
                <a:latin typeface="+mj-lt"/>
                <a:ea typeface="+mj-ea"/>
                <a:cs typeface="+mj-cs"/>
              </a:rPr>
              <a:t>экономики </a:t>
            </a:r>
            <a:r>
              <a:rPr lang="ru-RU" sz="800" b="1" dirty="0" err="1" smtClean="0">
                <a:latin typeface="+mj-lt"/>
                <a:ea typeface="+mj-ea"/>
                <a:cs typeface="+mj-cs"/>
              </a:rPr>
              <a:t>Я.Кузьминов</a:t>
            </a:r>
            <a:r>
              <a:rPr lang="ru-RU" sz="800" b="1" dirty="0" smtClean="0">
                <a:latin typeface="+mj-lt"/>
                <a:ea typeface="+mj-ea"/>
                <a:cs typeface="+mj-cs"/>
              </a:rPr>
              <a:t> ГУ ВШЭ, 2011</a:t>
            </a:r>
            <a:endParaRPr lang="ru-RU" sz="800" b="1" dirty="0">
              <a:latin typeface="+mj-lt"/>
              <a:ea typeface="+mj-ea"/>
              <a:cs typeface="+mj-cs"/>
            </a:endParaRPr>
          </a:p>
        </p:txBody>
      </p:sp>
      <p:sp>
        <p:nvSpPr>
          <p:cNvPr id="128" name="TextBox 12"/>
          <p:cNvSpPr txBox="1">
            <a:spLocks noChangeArrowheads="1"/>
          </p:cNvSpPr>
          <p:nvPr/>
        </p:nvSpPr>
        <p:spPr bwMode="auto">
          <a:xfrm>
            <a:off x="179512" y="2195250"/>
            <a:ext cx="4896544" cy="3594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buNone/>
              <a:defRPr sz="1200" b="1"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dirty="0"/>
              <a:t>Качество преподавания является наиболее важным фактором, влияющим на учебные </a:t>
            </a:r>
            <a:r>
              <a:rPr lang="ru-RU" dirty="0" smtClean="0"/>
              <a:t>результаты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19063" y="2771314"/>
            <a:ext cx="4303510" cy="3033950"/>
            <a:chOff x="119063" y="2771314"/>
            <a:chExt cx="4303510" cy="3033950"/>
          </a:xfrm>
        </p:grpSpPr>
        <p:sp>
          <p:nvSpPr>
            <p:cNvPr id="54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79512" y="2771314"/>
              <a:ext cx="1036459" cy="412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ru-RU" sz="800" b="1"/>
                <a:t>Успеваемость учащихся</a:t>
              </a:r>
              <a:endParaRPr lang="en-GB" sz="800" b="1"/>
            </a:p>
            <a:p>
              <a:pPr defTabSz="895350">
                <a:buClr>
                  <a:schemeClr val="tx2"/>
                </a:buClr>
              </a:pPr>
              <a:r>
                <a:rPr lang="en-GB" sz="800"/>
                <a:t>100</a:t>
              </a:r>
              <a:r>
                <a:rPr lang="ru-RU" sz="800"/>
                <a:t>-ый</a:t>
              </a:r>
              <a:r>
                <a:rPr lang="en-GB" sz="800"/>
                <a:t> </a:t>
              </a:r>
              <a:r>
                <a:rPr lang="ru-RU" sz="800"/>
                <a:t>процентиль</a:t>
              </a:r>
              <a:endParaRPr lang="en-GB" sz="800"/>
            </a:p>
          </p:txBody>
        </p:sp>
        <p:sp>
          <p:nvSpPr>
            <p:cNvPr id="55" name="Line 7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gray">
            <a:xfrm flipH="1" flipV="1">
              <a:off x="1249953" y="2801736"/>
              <a:ext cx="0" cy="2652769"/>
            </a:xfrm>
            <a:prstGeom prst="line">
              <a:avLst/>
            </a:prstGeom>
            <a:noFill/>
            <a:ln w="2857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56" name="Line 8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gray">
            <a:xfrm rot="5400000" flipH="1" flipV="1">
              <a:off x="2669656" y="4034802"/>
              <a:ext cx="0" cy="2839406"/>
            </a:xfrm>
            <a:prstGeom prst="line">
              <a:avLst/>
            </a:prstGeom>
            <a:noFill/>
            <a:ln w="28575">
              <a:solidFill>
                <a:srgbClr val="80808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57" name="Line 9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gray">
            <a:xfrm rot="5400000" flipH="1" flipV="1">
              <a:off x="2027410" y="2494801"/>
              <a:ext cx="884256" cy="243917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58" name="Line 10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gray">
            <a:xfrm rot="16200000" flipH="1">
              <a:off x="2027410" y="3370945"/>
              <a:ext cx="884256" cy="243917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800"/>
            </a:p>
          </p:txBody>
        </p:sp>
        <p:sp>
          <p:nvSpPr>
            <p:cNvPr id="59" name="Rectangle 1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15441" y="4087558"/>
              <a:ext cx="900530" cy="1379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800"/>
                <a:t>50</a:t>
              </a:r>
              <a:r>
                <a:rPr lang="ru-RU" sz="800"/>
                <a:t>-ый</a:t>
              </a:r>
              <a:r>
                <a:rPr lang="en-GB" sz="800"/>
                <a:t> </a:t>
              </a:r>
              <a:r>
                <a:rPr lang="ru-RU" sz="800"/>
                <a:t>процентиль</a:t>
              </a:r>
              <a:endParaRPr lang="en-GB" sz="800"/>
            </a:p>
          </p:txBody>
        </p:sp>
        <p:sp>
          <p:nvSpPr>
            <p:cNvPr id="60" name="Rectangle 1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907768" y="5491012"/>
              <a:ext cx="189142" cy="136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GB" sz="800" b="1"/>
                <a:t>Age</a:t>
              </a:r>
            </a:p>
          </p:txBody>
        </p:sp>
        <p:sp>
          <p:nvSpPr>
            <p:cNvPr id="61" name="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223522" y="5491010"/>
              <a:ext cx="61297" cy="136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800"/>
                <a:t>8</a:t>
              </a:r>
            </a:p>
          </p:txBody>
        </p:sp>
        <p:sp>
          <p:nvSpPr>
            <p:cNvPr id="62" name="Rectangle 1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366464" y="5491010"/>
              <a:ext cx="77058" cy="136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en-GB" sz="800"/>
                <a:t>11</a:t>
              </a:r>
            </a:p>
          </p:txBody>
        </p:sp>
        <p:sp>
          <p:nvSpPr>
            <p:cNvPr id="63" name="AutoShape 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611486" y="2856495"/>
              <a:ext cx="1381001" cy="618574"/>
            </a:xfrm>
            <a:prstGeom prst="wedgeRectCallout">
              <a:avLst>
                <a:gd name="adj1" fmla="val 30287"/>
                <a:gd name="adj2" fmla="val 114815"/>
              </a:avLst>
            </a:prstGeom>
            <a:solidFill>
              <a:schemeClr val="bg1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45720" rIns="45720" anchor="ctr"/>
            <a:lstStyle/>
            <a:p>
              <a:r>
                <a:rPr lang="ru-RU" sz="800" dirty="0"/>
                <a:t>Учащиеся, учителя которых добиваются высоких результатов в работе</a:t>
              </a:r>
              <a:r>
                <a:rPr lang="en-GB" sz="800" baseline="30000" dirty="0"/>
                <a:t>1</a:t>
              </a:r>
            </a:p>
          </p:txBody>
        </p:sp>
        <p:sp>
          <p:nvSpPr>
            <p:cNvPr id="64" name="AutoShape 1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11486" y="4781172"/>
              <a:ext cx="1381001" cy="673333"/>
            </a:xfrm>
            <a:prstGeom prst="wedgeRectCallout">
              <a:avLst>
                <a:gd name="adj1" fmla="val 21324"/>
                <a:gd name="adj2" fmla="val -111111"/>
              </a:avLst>
            </a:prstGeom>
            <a:solidFill>
              <a:schemeClr val="bg1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45720" rIns="45720" anchor="ctr"/>
            <a:lstStyle/>
            <a:p>
              <a:pPr>
                <a:buSzPct val="120000"/>
              </a:pPr>
              <a:r>
                <a:rPr lang="ru-RU" sz="800"/>
                <a:t>Учащиеся, учителя которых добиваются невысоких результатов в работе </a:t>
              </a:r>
              <a:r>
                <a:rPr lang="en-GB" sz="800" baseline="30000"/>
                <a:t>2</a:t>
              </a:r>
              <a:endParaRPr lang="en-GB" sz="800"/>
            </a:p>
          </p:txBody>
        </p:sp>
        <p:sp>
          <p:nvSpPr>
            <p:cNvPr id="65" name="Rectangle 1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731601" y="3191133"/>
              <a:ext cx="690972" cy="274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800"/>
                <a:t>90</a:t>
              </a:r>
              <a:r>
                <a:rPr lang="ru-RU" sz="800"/>
                <a:t>-ый</a:t>
              </a:r>
              <a:r>
                <a:rPr lang="en-GB" sz="800"/>
                <a:t> </a:t>
              </a:r>
              <a:r>
                <a:rPr lang="ru-RU" sz="800"/>
                <a:t>процентиль</a:t>
              </a:r>
              <a:endParaRPr lang="en-GB" sz="800"/>
            </a:p>
          </p:txBody>
        </p:sp>
        <p:sp>
          <p:nvSpPr>
            <p:cNvPr id="66" name="Rectangle 1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731601" y="4961674"/>
              <a:ext cx="690972" cy="2748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800"/>
                <a:t>37</a:t>
              </a:r>
              <a:r>
                <a:rPr lang="ru-RU" sz="800"/>
                <a:t>-ой</a:t>
              </a:r>
              <a:r>
                <a:rPr lang="en-GB" sz="800"/>
                <a:t> </a:t>
              </a:r>
              <a:r>
                <a:rPr lang="ru-RU" sz="800"/>
                <a:t>процентиль</a:t>
              </a:r>
              <a:endParaRPr lang="en-GB" sz="800"/>
            </a:p>
          </p:txBody>
        </p:sp>
        <p:sp>
          <p:nvSpPr>
            <p:cNvPr id="67" name="AutoShape 1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 rot="5400000">
              <a:off x="2674299" y="4046927"/>
              <a:ext cx="1435903" cy="202949"/>
            </a:xfrm>
            <a:prstGeom prst="leftRightArrow">
              <a:avLst>
                <a:gd name="adj1" fmla="val 50000"/>
                <a:gd name="adj2" fmla="val 37687"/>
              </a:avLst>
            </a:prstGeom>
            <a:solidFill>
              <a:schemeClr val="tx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 sz="800"/>
            </a:p>
          </p:txBody>
        </p:sp>
        <p:sp>
          <p:nvSpPr>
            <p:cNvPr id="68" name="Rectangle 2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520155" y="4012518"/>
              <a:ext cx="827846" cy="412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GB" sz="800"/>
                <a:t>53 </a:t>
              </a:r>
              <a:r>
                <a:rPr lang="ru-RU" sz="800"/>
                <a:t>пункта разницы процентиля</a:t>
              </a:r>
              <a:endParaRPr lang="en-GB" sz="800"/>
            </a:p>
          </p:txBody>
        </p:sp>
        <p:sp>
          <p:nvSpPr>
            <p:cNvPr id="69" name="AutoShape 2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196503" y="3475069"/>
              <a:ext cx="1053450" cy="420833"/>
            </a:xfrm>
            <a:prstGeom prst="wedgeRectCallout">
              <a:avLst>
                <a:gd name="adj1" fmla="val 44176"/>
                <a:gd name="adj2" fmla="val 100616"/>
              </a:avLst>
            </a:prstGeom>
            <a:solidFill>
              <a:schemeClr val="bg1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</p:spPr>
          <p:txBody>
            <a:bodyPr lIns="45720" rIns="45720" anchor="ctr"/>
            <a:lstStyle/>
            <a:p>
              <a:r>
                <a:rPr lang="ru-RU" sz="800" dirty="0"/>
                <a:t>Двое учащихся с одинаковой </a:t>
              </a:r>
              <a:r>
                <a:rPr lang="ru-RU" sz="800" dirty="0" err="1"/>
                <a:t>успевамостью</a:t>
              </a:r>
              <a:endParaRPr lang="en-GB" sz="800" baseline="30000" dirty="0"/>
            </a:p>
          </p:txBody>
        </p:sp>
        <p:sp>
          <p:nvSpPr>
            <p:cNvPr id="70" name="McK 5. Source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19063" y="5682153"/>
              <a:ext cx="2635203" cy="123111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lIns="91440" tIns="45720" rIns="91440" bIns="45720" rtlCol="0" anchor="ctr">
              <a:noAutofit/>
            </a:bodyPr>
            <a:lstStyle/>
            <a:p>
              <a:pPr>
                <a:spcBef>
                  <a:spcPct val="0"/>
                </a:spcBef>
              </a:pPr>
              <a:r>
                <a:rPr lang="ru-RU" sz="800" b="1" dirty="0" smtClean="0">
                  <a:latin typeface="+mj-lt"/>
                  <a:ea typeface="+mj-ea"/>
                  <a:cs typeface="+mj-cs"/>
                </a:rPr>
                <a:t>Источник</a:t>
              </a:r>
              <a:r>
                <a:rPr lang="ru-RU" sz="800" b="1" dirty="0">
                  <a:latin typeface="+mj-lt"/>
                  <a:ea typeface="+mj-ea"/>
                  <a:cs typeface="+mj-cs"/>
                </a:rPr>
                <a:t>: </a:t>
              </a:r>
              <a:r>
                <a:rPr lang="en-US" sz="800" b="1" dirty="0">
                  <a:latin typeface="+mj-lt"/>
                  <a:ea typeface="+mj-ea"/>
                  <a:cs typeface="+mj-cs"/>
                </a:rPr>
                <a:t>Sanders and Rivers</a:t>
              </a: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077" y="2437418"/>
            <a:ext cx="3889387" cy="3295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" descr="logo_mako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018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5696" y="482344"/>
            <a:ext cx="6851104" cy="71440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ак мы выходим из положения?</a:t>
            </a:r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51520" y="6093296"/>
            <a:ext cx="864096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одители (непрофессионально) формируют образовательные траектории детей в условиях недостатка информации, временных и материальных ресурсов</a:t>
            </a:r>
            <a:endParaRPr lang="ru-RU" dirty="0"/>
          </a:p>
        </p:txBody>
      </p:sp>
      <p:sp>
        <p:nvSpPr>
          <p:cNvPr id="44" name="Овал 43"/>
          <p:cNvSpPr/>
          <p:nvPr/>
        </p:nvSpPr>
        <p:spPr>
          <a:xfrm>
            <a:off x="323528" y="3501008"/>
            <a:ext cx="1368152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одители</a:t>
            </a:r>
            <a:endParaRPr lang="ru-RU" sz="1400" dirty="0"/>
          </a:p>
        </p:txBody>
      </p:sp>
      <p:sp>
        <p:nvSpPr>
          <p:cNvPr id="45" name="Овал 44"/>
          <p:cNvSpPr/>
          <p:nvPr/>
        </p:nvSpPr>
        <p:spPr>
          <a:xfrm>
            <a:off x="755576" y="3861048"/>
            <a:ext cx="936104" cy="4547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Дети</a:t>
            </a:r>
            <a:endParaRPr lang="ru-RU" sz="14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1979712" y="2564904"/>
            <a:ext cx="2232248" cy="5040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Школ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979712" y="4365104"/>
            <a:ext cx="4680520" cy="5040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Дополнительное образова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251520" y="3068960"/>
            <a:ext cx="1584176" cy="1440160"/>
          </a:xfrm>
          <a:prstGeom prst="ellipse">
            <a:avLst/>
          </a:prstGeom>
          <a:noFill/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Заголовок 36"/>
          <p:cNvSpPr txBox="1">
            <a:spLocks/>
          </p:cNvSpPr>
          <p:nvPr/>
        </p:nvSpPr>
        <p:spPr>
          <a:xfrm>
            <a:off x="683568" y="3140968"/>
            <a:ext cx="64807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Семьи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4499992" y="2564904"/>
            <a:ext cx="2160240" cy="5040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ВУЗ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491880" y="3789040"/>
            <a:ext cx="1512168" cy="50405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Колледж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979712" y="3068960"/>
            <a:ext cx="504056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1-4 </a:t>
            </a:r>
            <a:r>
              <a:rPr lang="ru-RU" sz="1100" dirty="0" err="1" smtClean="0">
                <a:solidFill>
                  <a:schemeClr val="tx1"/>
                </a:solidFill>
              </a:rPr>
              <a:t>кл</a:t>
            </a:r>
            <a:r>
              <a:rPr lang="ru-RU" sz="1100" dirty="0" smtClean="0">
                <a:solidFill>
                  <a:schemeClr val="tx1"/>
                </a:solidFill>
              </a:rPr>
              <a:t>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483768" y="3068960"/>
            <a:ext cx="504056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5-7 </a:t>
            </a:r>
            <a:r>
              <a:rPr lang="ru-RU" sz="1100" dirty="0" err="1" smtClean="0">
                <a:solidFill>
                  <a:schemeClr val="tx1"/>
                </a:solidFill>
              </a:rPr>
              <a:t>кл</a:t>
            </a:r>
            <a:r>
              <a:rPr lang="ru-RU" sz="1100" dirty="0" smtClean="0">
                <a:solidFill>
                  <a:schemeClr val="tx1"/>
                </a:solidFill>
              </a:rPr>
              <a:t>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987824" y="3068960"/>
            <a:ext cx="504056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8-9 </a:t>
            </a:r>
            <a:r>
              <a:rPr lang="ru-RU" sz="1100" dirty="0" err="1" smtClean="0">
                <a:solidFill>
                  <a:schemeClr val="tx1"/>
                </a:solidFill>
              </a:rPr>
              <a:t>кл</a:t>
            </a:r>
            <a:r>
              <a:rPr lang="ru-RU" sz="1100" dirty="0" smtClean="0">
                <a:solidFill>
                  <a:schemeClr val="tx1"/>
                </a:solidFill>
              </a:rPr>
              <a:t>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491880" y="3068960"/>
            <a:ext cx="720080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10-11 </a:t>
            </a:r>
            <a:r>
              <a:rPr lang="ru-RU" sz="1100" dirty="0" err="1" smtClean="0">
                <a:solidFill>
                  <a:schemeClr val="tx1"/>
                </a:solidFill>
              </a:rPr>
              <a:t>кл</a:t>
            </a:r>
            <a:r>
              <a:rPr lang="ru-RU" sz="1100" dirty="0" smtClean="0">
                <a:solidFill>
                  <a:schemeClr val="tx1"/>
                </a:solidFill>
              </a:rPr>
              <a:t>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499993" y="3068960"/>
            <a:ext cx="1080120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 err="1" smtClean="0">
                <a:solidFill>
                  <a:schemeClr val="tx1"/>
                </a:solidFill>
              </a:rPr>
              <a:t>Бакалавриат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5580113" y="3068960"/>
            <a:ext cx="1080119" cy="62342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Магистратура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1979712" y="2132856"/>
            <a:ext cx="2376264" cy="3827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Учителя</a:t>
            </a:r>
            <a:endParaRPr lang="ru-RU" sz="1400" dirty="0"/>
          </a:p>
        </p:txBody>
      </p:sp>
      <p:sp>
        <p:nvSpPr>
          <p:cNvPr id="59" name="Овал 58"/>
          <p:cNvSpPr/>
          <p:nvPr/>
        </p:nvSpPr>
        <p:spPr>
          <a:xfrm>
            <a:off x="4283968" y="2132856"/>
            <a:ext cx="2376264" cy="3827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фессура</a:t>
            </a:r>
            <a:endParaRPr lang="ru-RU" sz="1400" dirty="0"/>
          </a:p>
        </p:txBody>
      </p:sp>
      <p:sp>
        <p:nvSpPr>
          <p:cNvPr id="60" name="Овал 59"/>
          <p:cNvSpPr/>
          <p:nvPr/>
        </p:nvSpPr>
        <p:spPr>
          <a:xfrm>
            <a:off x="1979712" y="5013177"/>
            <a:ext cx="2376264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епетиторы</a:t>
            </a:r>
            <a:endParaRPr lang="ru-RU" sz="1400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7380312" y="3163673"/>
            <a:ext cx="1584176" cy="12014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Работодатель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3" name="Стрелка вправо 62"/>
          <p:cNvSpPr/>
          <p:nvPr/>
        </p:nvSpPr>
        <p:spPr>
          <a:xfrm>
            <a:off x="1907704" y="2371585"/>
            <a:ext cx="5361687" cy="2736304"/>
          </a:xfrm>
          <a:prstGeom prst="rightArrow">
            <a:avLst>
              <a:gd name="adj1" fmla="val 89042"/>
              <a:gd name="adj2" fmla="val 18237"/>
            </a:avLst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Овал 63"/>
          <p:cNvSpPr/>
          <p:nvPr/>
        </p:nvSpPr>
        <p:spPr>
          <a:xfrm>
            <a:off x="251520" y="1628800"/>
            <a:ext cx="8568952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Государство</a:t>
            </a:r>
            <a:endParaRPr lang="ru-RU" sz="1400" dirty="0"/>
          </a:p>
        </p:txBody>
      </p:sp>
      <p:sp>
        <p:nvSpPr>
          <p:cNvPr id="65" name="Овал 64"/>
          <p:cNvSpPr/>
          <p:nvPr/>
        </p:nvSpPr>
        <p:spPr>
          <a:xfrm>
            <a:off x="251520" y="5445224"/>
            <a:ext cx="8712968" cy="4093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фессионалы</a:t>
            </a:r>
            <a:endParaRPr lang="ru-RU" sz="1400" dirty="0"/>
          </a:p>
        </p:txBody>
      </p:sp>
      <p:pic>
        <p:nvPicPr>
          <p:cNvPr id="25" name="Picture 2" descr="logo_mak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7532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38328"/>
            <a:ext cx="8229600" cy="930432"/>
          </a:xfrm>
        </p:spPr>
        <p:txBody>
          <a:bodyPr/>
          <a:lstStyle/>
          <a:p>
            <a:r>
              <a:rPr lang="ru-RU" dirty="0" smtClean="0"/>
              <a:t>Что нам поможет?</a:t>
            </a:r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51520" y="6093296"/>
            <a:ext cx="8640960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обходимо сообщество специалистов, способных выступить проводниками для семей в «бурном море» современного образования</a:t>
            </a:r>
            <a:endParaRPr lang="ru-RU" dirty="0"/>
          </a:p>
        </p:txBody>
      </p:sp>
      <p:pic>
        <p:nvPicPr>
          <p:cNvPr id="3074" name="Picture 2" descr="Картинка 15 из 182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2341377"/>
            <a:ext cx="4678447" cy="2887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Скругленная прямоугольная выноска 44"/>
          <p:cNvSpPr/>
          <p:nvPr/>
        </p:nvSpPr>
        <p:spPr>
          <a:xfrm>
            <a:off x="3278794" y="2299577"/>
            <a:ext cx="1597950" cy="553359"/>
          </a:xfrm>
          <a:prstGeom prst="wedgeRoundRectCallout">
            <a:avLst>
              <a:gd name="adj1" fmla="val 33454"/>
              <a:gd name="adj2" fmla="val 14530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Шерпа (</a:t>
            </a:r>
            <a:r>
              <a:rPr lang="ru-RU" dirty="0" err="1" smtClean="0"/>
              <a:t>тьютор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47" name="Заголовок 36"/>
          <p:cNvSpPr txBox="1">
            <a:spLocks/>
          </p:cNvSpPr>
          <p:nvPr/>
        </p:nvSpPr>
        <p:spPr>
          <a:xfrm>
            <a:off x="5004048" y="2420888"/>
            <a:ext cx="756084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Успех </a:t>
            </a:r>
            <a:endParaRPr lang="ru-RU" sz="1200" b="1" dirty="0">
              <a:solidFill>
                <a:schemeClr val="bg1"/>
              </a:solidFill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flipH="1" flipV="1">
            <a:off x="4572000" y="4221088"/>
            <a:ext cx="504056" cy="100811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4572000" y="3861048"/>
            <a:ext cx="0" cy="36004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 flipV="1">
            <a:off x="4750983" y="2708920"/>
            <a:ext cx="325073" cy="648072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Заголовок 36"/>
          <p:cNvSpPr txBox="1">
            <a:spLocks/>
          </p:cNvSpPr>
          <p:nvPr/>
        </p:nvSpPr>
        <p:spPr>
          <a:xfrm>
            <a:off x="4932040" y="4725144"/>
            <a:ext cx="1656184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Образовательная траектор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55" name="Скругленная прямоугольная выноска 54"/>
          <p:cNvSpPr/>
          <p:nvPr/>
        </p:nvSpPr>
        <p:spPr>
          <a:xfrm>
            <a:off x="2710524" y="4630210"/>
            <a:ext cx="1597950" cy="553359"/>
          </a:xfrm>
          <a:prstGeom prst="wedgeRoundRectCallout">
            <a:avLst>
              <a:gd name="adj1" fmla="val 65181"/>
              <a:gd name="adj2" fmla="val -226084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Альпинисты (учащиеся)</a:t>
            </a:r>
            <a:endParaRPr lang="ru-RU" dirty="0"/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611560" y="3717032"/>
            <a:ext cx="3696914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788024" y="3717032"/>
            <a:ext cx="3672408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611560" y="3284984"/>
            <a:ext cx="396044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4860032" y="3284984"/>
            <a:ext cx="360040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539552" y="2852936"/>
            <a:ext cx="3672408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5148064" y="2852936"/>
            <a:ext cx="324036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Заголовок 36"/>
          <p:cNvSpPr txBox="1">
            <a:spLocks/>
          </p:cNvSpPr>
          <p:nvPr/>
        </p:nvSpPr>
        <p:spPr>
          <a:xfrm>
            <a:off x="7236296" y="2492896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ВУЗ/Корпоративное обучение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71" name="Заголовок 36"/>
          <p:cNvSpPr txBox="1">
            <a:spLocks/>
          </p:cNvSpPr>
          <p:nvPr/>
        </p:nvSpPr>
        <p:spPr>
          <a:xfrm>
            <a:off x="7236296" y="2924944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10-11 </a:t>
            </a:r>
            <a:r>
              <a:rPr lang="ru-RU" sz="1100" b="1" dirty="0" err="1" smtClean="0">
                <a:solidFill>
                  <a:schemeClr val="tx1"/>
                </a:solidFill>
              </a:rPr>
              <a:t>кл</a:t>
            </a:r>
            <a:r>
              <a:rPr lang="ru-RU" sz="1100" b="1" dirty="0" smtClean="0">
                <a:solidFill>
                  <a:schemeClr val="tx1"/>
                </a:solidFill>
              </a:rPr>
              <a:t>.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72" name="Заголовок 36"/>
          <p:cNvSpPr txBox="1">
            <a:spLocks/>
          </p:cNvSpPr>
          <p:nvPr/>
        </p:nvSpPr>
        <p:spPr>
          <a:xfrm>
            <a:off x="7236296" y="3356992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8-9 </a:t>
            </a:r>
            <a:r>
              <a:rPr lang="ru-RU" sz="1100" b="1" dirty="0" err="1" smtClean="0">
                <a:solidFill>
                  <a:schemeClr val="tx1"/>
                </a:solidFill>
              </a:rPr>
              <a:t>кл</a:t>
            </a:r>
            <a:r>
              <a:rPr lang="ru-RU" sz="1100" b="1" dirty="0" smtClean="0">
                <a:solidFill>
                  <a:schemeClr val="tx1"/>
                </a:solidFill>
              </a:rPr>
              <a:t>.</a:t>
            </a:r>
            <a:endParaRPr lang="ru-RU" sz="1100" b="1" dirty="0">
              <a:solidFill>
                <a:schemeClr val="tx1"/>
              </a:solidFill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4788024" y="4149080"/>
            <a:ext cx="3672408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Заголовок 36"/>
          <p:cNvSpPr txBox="1">
            <a:spLocks/>
          </p:cNvSpPr>
          <p:nvPr/>
        </p:nvSpPr>
        <p:spPr>
          <a:xfrm>
            <a:off x="7236296" y="3789040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5-7 </a:t>
            </a:r>
            <a:r>
              <a:rPr lang="ru-RU" sz="1100" b="1" dirty="0" err="1" smtClean="0">
                <a:solidFill>
                  <a:schemeClr val="tx1"/>
                </a:solidFill>
              </a:rPr>
              <a:t>кл</a:t>
            </a:r>
            <a:r>
              <a:rPr lang="ru-RU" sz="1100" b="1" dirty="0" smtClean="0">
                <a:solidFill>
                  <a:schemeClr val="tx1"/>
                </a:solidFill>
              </a:rPr>
              <a:t>.</a:t>
            </a:r>
            <a:endParaRPr lang="ru-RU" sz="1100" b="1" dirty="0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>
            <a:off x="611560" y="4149080"/>
            <a:ext cx="3384376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4913519" y="4581128"/>
            <a:ext cx="3546913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Заголовок 36"/>
          <p:cNvSpPr txBox="1">
            <a:spLocks/>
          </p:cNvSpPr>
          <p:nvPr/>
        </p:nvSpPr>
        <p:spPr>
          <a:xfrm>
            <a:off x="7236296" y="4221088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1-4 </a:t>
            </a:r>
            <a:r>
              <a:rPr lang="ru-RU" sz="1100" b="1" dirty="0" err="1" smtClean="0">
                <a:solidFill>
                  <a:schemeClr val="tx1"/>
                </a:solidFill>
              </a:rPr>
              <a:t>кл</a:t>
            </a:r>
            <a:r>
              <a:rPr lang="ru-RU" sz="1100" b="1" dirty="0" smtClean="0">
                <a:solidFill>
                  <a:schemeClr val="tx1"/>
                </a:solidFill>
              </a:rPr>
              <a:t>.</a:t>
            </a:r>
            <a:endParaRPr lang="ru-RU" sz="1100" b="1" dirty="0">
              <a:solidFill>
                <a:schemeClr val="tx1"/>
              </a:solidFill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611560" y="4581128"/>
            <a:ext cx="288032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Заголовок 36"/>
          <p:cNvSpPr txBox="1">
            <a:spLocks/>
          </p:cNvSpPr>
          <p:nvPr/>
        </p:nvSpPr>
        <p:spPr>
          <a:xfrm>
            <a:off x="7236296" y="4653136"/>
            <a:ext cx="18002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Дошкольная подготовка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3" name="Заголовок 36"/>
          <p:cNvSpPr txBox="1">
            <a:spLocks/>
          </p:cNvSpPr>
          <p:nvPr/>
        </p:nvSpPr>
        <p:spPr>
          <a:xfrm>
            <a:off x="107504" y="2492896"/>
            <a:ext cx="208823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Практики/малый бизнес/</a:t>
            </a:r>
            <a:r>
              <a:rPr lang="ru-RU" sz="1100" b="1" dirty="0" err="1" smtClean="0">
                <a:solidFill>
                  <a:schemeClr val="tx1"/>
                </a:solidFill>
              </a:rPr>
              <a:t>волонтерство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4" name="Заголовок 36"/>
          <p:cNvSpPr txBox="1">
            <a:spLocks/>
          </p:cNvSpPr>
          <p:nvPr/>
        </p:nvSpPr>
        <p:spPr>
          <a:xfrm>
            <a:off x="107504" y="2924944"/>
            <a:ext cx="208823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Целевая подготовка (ЕГЭ), </a:t>
            </a:r>
            <a:r>
              <a:rPr lang="ru-RU" sz="1100" b="1" dirty="0" err="1" smtClean="0">
                <a:solidFill>
                  <a:schemeClr val="tx1"/>
                </a:solidFill>
              </a:rPr>
              <a:t>волонтерство</a:t>
            </a:r>
            <a:r>
              <a:rPr lang="ru-RU" sz="1100" b="1" dirty="0" smtClean="0">
                <a:solidFill>
                  <a:schemeClr val="tx1"/>
                </a:solidFill>
              </a:rPr>
              <a:t>/ практика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5" name="Заголовок 36"/>
          <p:cNvSpPr txBox="1">
            <a:spLocks/>
          </p:cNvSpPr>
          <p:nvPr/>
        </p:nvSpPr>
        <p:spPr>
          <a:xfrm>
            <a:off x="107504" y="3356992"/>
            <a:ext cx="226825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Пред-профильное </a:t>
            </a:r>
            <a:r>
              <a:rPr lang="ru-RU" sz="1100" b="1" dirty="0" err="1" smtClean="0">
                <a:solidFill>
                  <a:schemeClr val="tx1"/>
                </a:solidFill>
              </a:rPr>
              <a:t>доп.образование</a:t>
            </a:r>
            <a:r>
              <a:rPr lang="ru-RU" sz="1100" b="1" dirty="0" smtClean="0">
                <a:solidFill>
                  <a:schemeClr val="tx1"/>
                </a:solidFill>
              </a:rPr>
              <a:t>/</a:t>
            </a:r>
            <a:r>
              <a:rPr lang="ru-RU" sz="1100" b="1" dirty="0" err="1" smtClean="0">
                <a:solidFill>
                  <a:schemeClr val="tx1"/>
                </a:solidFill>
              </a:rPr>
              <a:t>волонтерство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6" name="Заголовок 36"/>
          <p:cNvSpPr txBox="1">
            <a:spLocks/>
          </p:cNvSpPr>
          <p:nvPr/>
        </p:nvSpPr>
        <p:spPr>
          <a:xfrm>
            <a:off x="107504" y="3789040"/>
            <a:ext cx="208823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Пред-профильное </a:t>
            </a:r>
            <a:r>
              <a:rPr lang="ru-RU" sz="1100" b="1" dirty="0" err="1" smtClean="0">
                <a:solidFill>
                  <a:schemeClr val="tx1"/>
                </a:solidFill>
              </a:rPr>
              <a:t>доп.образование</a:t>
            </a:r>
            <a:r>
              <a:rPr lang="ru-RU" sz="1100" b="1" dirty="0" smtClean="0">
                <a:solidFill>
                  <a:schemeClr val="tx1"/>
                </a:solidFill>
              </a:rPr>
              <a:t>/экскурсии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7" name="Заголовок 36"/>
          <p:cNvSpPr txBox="1">
            <a:spLocks/>
          </p:cNvSpPr>
          <p:nvPr/>
        </p:nvSpPr>
        <p:spPr>
          <a:xfrm>
            <a:off x="107504" y="4221088"/>
            <a:ext cx="226825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err="1" smtClean="0">
                <a:solidFill>
                  <a:schemeClr val="tx1"/>
                </a:solidFill>
              </a:rPr>
              <a:t>Доп.образование</a:t>
            </a:r>
            <a:r>
              <a:rPr lang="ru-RU" sz="1100" b="1" dirty="0" smtClean="0">
                <a:solidFill>
                  <a:schemeClr val="tx1"/>
                </a:solidFill>
              </a:rPr>
              <a:t>/лагеря/секции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8" name="Заголовок 36"/>
          <p:cNvSpPr txBox="1">
            <a:spLocks/>
          </p:cNvSpPr>
          <p:nvPr/>
        </p:nvSpPr>
        <p:spPr>
          <a:xfrm>
            <a:off x="107504" y="4653136"/>
            <a:ext cx="208823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Детские центры, клубы, секции</a:t>
            </a:r>
            <a:endParaRPr lang="ru-RU" sz="1100" b="1" dirty="0">
              <a:solidFill>
                <a:schemeClr val="tx1"/>
              </a:solidFill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251520" y="1966135"/>
            <a:ext cx="3672408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Бизнес</a:t>
            </a:r>
            <a:endParaRPr lang="ru-RU" sz="1400" dirty="0"/>
          </a:p>
        </p:txBody>
      </p:sp>
      <p:sp>
        <p:nvSpPr>
          <p:cNvPr id="90" name="Овал 89"/>
          <p:cNvSpPr/>
          <p:nvPr/>
        </p:nvSpPr>
        <p:spPr>
          <a:xfrm>
            <a:off x="5724128" y="1700808"/>
            <a:ext cx="3168352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бразование</a:t>
            </a:r>
            <a:endParaRPr lang="ru-RU" sz="1400" dirty="0"/>
          </a:p>
        </p:txBody>
      </p:sp>
      <p:sp>
        <p:nvSpPr>
          <p:cNvPr id="91" name="Овал 90"/>
          <p:cNvSpPr/>
          <p:nvPr/>
        </p:nvSpPr>
        <p:spPr>
          <a:xfrm>
            <a:off x="1547664" y="1412776"/>
            <a:ext cx="5220580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Государство/местные сообщества</a:t>
            </a:r>
            <a:endParaRPr lang="ru-RU" sz="1400" dirty="0"/>
          </a:p>
        </p:txBody>
      </p:sp>
      <p:sp>
        <p:nvSpPr>
          <p:cNvPr id="92" name="Овал 91"/>
          <p:cNvSpPr/>
          <p:nvPr/>
        </p:nvSpPr>
        <p:spPr>
          <a:xfrm>
            <a:off x="323528" y="5206495"/>
            <a:ext cx="3168352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одители</a:t>
            </a:r>
            <a:endParaRPr lang="ru-RU" sz="1400" dirty="0"/>
          </a:p>
        </p:txBody>
      </p:sp>
      <p:sp>
        <p:nvSpPr>
          <p:cNvPr id="93" name="Овал 92"/>
          <p:cNvSpPr/>
          <p:nvPr/>
        </p:nvSpPr>
        <p:spPr>
          <a:xfrm>
            <a:off x="5580112" y="5206495"/>
            <a:ext cx="3168352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фессионалы</a:t>
            </a:r>
            <a:endParaRPr lang="ru-RU" sz="1400" dirty="0"/>
          </a:p>
        </p:txBody>
      </p:sp>
      <p:sp>
        <p:nvSpPr>
          <p:cNvPr id="94" name="Овал 93"/>
          <p:cNvSpPr/>
          <p:nvPr/>
        </p:nvSpPr>
        <p:spPr>
          <a:xfrm>
            <a:off x="2494500" y="5278503"/>
            <a:ext cx="3877700" cy="52676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Дети/Подростки</a:t>
            </a:r>
            <a:endParaRPr lang="ru-RU" sz="1400" dirty="0"/>
          </a:p>
        </p:txBody>
      </p:sp>
      <p:pic>
        <p:nvPicPr>
          <p:cNvPr id="40" name="Picture 2" descr="logo_mak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452437"/>
            <a:ext cx="1143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0304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</a:t>
            </a:r>
            <a:br>
              <a:rPr lang="ru-RU" dirty="0" smtClean="0"/>
            </a:br>
            <a:r>
              <a:rPr lang="ru-RU" dirty="0" smtClean="0"/>
              <a:t>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2656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eDebumHIECcXkEEPwPN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fQN0KYg0GmSZMaxaWw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U6zS76I0KpNY0Em1cD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8C0G.1EGT9lQG3NVB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q8iCn.P0WH52yC7e8B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TuIiNKL0myFpO3WYPK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7QeIIc202WOetDUDpE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XGq.0tUSuyyTsIxl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nhDv3GzvEiodxWsPE8_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GO9LwUbEK_1WKY.g0F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W_5P32CUGhDhK5w4Va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D2KWWUw0SL9tIsSKJx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W2sAL3t0u8Oe2JKdE_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Px3KWMqEeiKNeoYAye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z66w4pTEaJVTDsMBM5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ASPhQ5M0S83LjDKdvd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Xaks1RWkOT1cGHD9_kz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Волна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Волна">
      <a:majorFont>
        <a:latin typeface="Candara"/>
        <a:ea typeface=""/>
        <a:cs typeface=""/>
        <a:font script="Jpan" typeface="HGP明朝E"/>
        <a:font script="Hang" typeface="HY그래픽M"/>
        <a:font script="Hans" typeface="华文新魏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P明朝E"/>
        <a:font script="Hang" typeface="HY그래픽M"/>
        <a:font script="Hans" typeface="华文楷体"/>
        <a:font script="Hant" typeface="標楷體"/>
        <a:font script="Arab" typeface="Arial"/>
        <a:font script="Hebr" typeface="Arial"/>
        <a:font script="Thai" typeface="Kodchiang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40000">
              <a:schemeClr val="phClr">
                <a:tint val="94000"/>
                <a:shade val="94000"/>
                <a:alpha val="100000"/>
                <a:satMod val="114000"/>
                <a:lumMod val="114000"/>
              </a:schemeClr>
            </a:gs>
            <a:gs pos="74000">
              <a:schemeClr val="phClr">
                <a:tint val="94000"/>
                <a:shade val="94000"/>
                <a:satMod val="128000"/>
                <a:lumMod val="100000"/>
              </a:schemeClr>
            </a:gs>
            <a:gs pos="100000">
              <a:schemeClr val="phClr">
                <a:tint val="98000"/>
                <a:shade val="100000"/>
                <a:hueMod val="98000"/>
                <a:satMod val="100000"/>
                <a:lumMod val="74000"/>
              </a:schemeClr>
            </a:gs>
          </a:gsLst>
          <a:path path="circle">
            <a:fillToRect l="20000" t="-40000" r="20000" b="14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6000"/>
                <a:satMod val="130000"/>
                <a:lumMod val="50000"/>
              </a:schemeClr>
              <a:schemeClr val="phClr">
                <a:tint val="96000"/>
                <a:satMod val="114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474</TotalTime>
  <Words>1502</Words>
  <Application>Microsoft Office PowerPoint</Application>
  <PresentationFormat>Экран (4:3)</PresentationFormat>
  <Paragraphs>150</Paragraphs>
  <Slides>7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Волна</vt:lpstr>
      <vt:lpstr>Формирование образовательных траекторий детей</vt:lpstr>
      <vt:lpstr>Мои дети</vt:lpstr>
      <vt:lpstr>Образование: что мы имеем?</vt:lpstr>
      <vt:lpstr>Образование: на что надеяться?</vt:lpstr>
      <vt:lpstr>Как мы выходим из положения?</vt:lpstr>
      <vt:lpstr>Что нам поможет?</vt:lpstr>
      <vt:lpstr>СПАСИБО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timofeev_di</dc:creator>
  <cp:lastModifiedBy>timofeev_di</cp:lastModifiedBy>
  <cp:revision>54</cp:revision>
  <dcterms:created xsi:type="dcterms:W3CDTF">2011-05-12T10:47:33Z</dcterms:created>
  <dcterms:modified xsi:type="dcterms:W3CDTF">2011-05-19T12:07:46Z</dcterms:modified>
</cp:coreProperties>
</file>